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26"/>
  </p:notesMasterIdLst>
  <p:sldIdLst>
    <p:sldId id="305" r:id="rId2"/>
    <p:sldId id="321" r:id="rId3"/>
    <p:sldId id="307" r:id="rId4"/>
    <p:sldId id="332" r:id="rId5"/>
    <p:sldId id="331" r:id="rId6"/>
    <p:sldId id="336" r:id="rId7"/>
    <p:sldId id="337" r:id="rId8"/>
    <p:sldId id="338" r:id="rId9"/>
    <p:sldId id="342" r:id="rId10"/>
    <p:sldId id="333" r:id="rId11"/>
    <p:sldId id="334" r:id="rId12"/>
    <p:sldId id="356" r:id="rId13"/>
    <p:sldId id="335" r:id="rId14"/>
    <p:sldId id="341" r:id="rId15"/>
    <p:sldId id="343" r:id="rId16"/>
    <p:sldId id="347" r:id="rId17"/>
    <p:sldId id="348" r:id="rId18"/>
    <p:sldId id="350" r:id="rId19"/>
    <p:sldId id="351" r:id="rId20"/>
    <p:sldId id="352" r:id="rId21"/>
    <p:sldId id="355" r:id="rId22"/>
    <p:sldId id="340" r:id="rId23"/>
    <p:sldId id="354" r:id="rId24"/>
    <p:sldId id="285" r:id="rId25"/>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107" d="100"/>
          <a:sy n="107" d="100"/>
        </p:scale>
        <p:origin x="-84" y="-36"/>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0956EC-2B2E-416A-9FE1-0CE6657E36F2}" type="doc">
      <dgm:prSet loTypeId="urn:microsoft.com/office/officeart/2005/8/layout/pyramid4" loCatId="pyramid" qsTypeId="urn:microsoft.com/office/officeart/2005/8/quickstyle/3d5" qsCatId="3D" csTypeId="urn:microsoft.com/office/officeart/2005/8/colors/accent1_2" csCatId="accent1" phldr="1"/>
      <dgm:spPr/>
    </dgm:pt>
    <dgm:pt modelId="{E91854BF-D18F-41EE-89FD-398D30CD1362}">
      <dgm:prSet phldrT="[Text]" custT="1"/>
      <dgm:spPr>
        <a:noFill/>
        <a:ln>
          <a:noFill/>
        </a:ln>
        <a:sp3d extrusionH="1047750" contourW="38100" prstMaterial="matte">
          <a:contourClr>
            <a:schemeClr val="lt1"/>
          </a:contourClr>
        </a:sp3d>
      </dgm:spPr>
      <dgm:t>
        <a:bodyPr/>
        <a:lstStyle/>
        <a:p>
          <a:endParaRPr lang="en-AU" sz="1400" b="1" dirty="0"/>
        </a:p>
      </dgm:t>
    </dgm:pt>
    <dgm:pt modelId="{481D62F9-9286-4807-B30E-2AB95DCC085E}" type="parTrans" cxnId="{D6E878FE-1834-4D66-B62A-2E8710B9A5D4}">
      <dgm:prSet/>
      <dgm:spPr/>
      <dgm:t>
        <a:bodyPr/>
        <a:lstStyle/>
        <a:p>
          <a:endParaRPr lang="en-AU" sz="1100"/>
        </a:p>
      </dgm:t>
    </dgm:pt>
    <dgm:pt modelId="{F5E7BF15-0C5F-4DCE-862E-144BFA9B22CA}" type="sibTrans" cxnId="{D6E878FE-1834-4D66-B62A-2E8710B9A5D4}">
      <dgm:prSet/>
      <dgm:spPr/>
      <dgm:t>
        <a:bodyPr/>
        <a:lstStyle/>
        <a:p>
          <a:endParaRPr lang="en-AU" sz="1100"/>
        </a:p>
      </dgm:t>
    </dgm:pt>
    <dgm:pt modelId="{D0421A5F-D4AC-431C-8723-7F1BF1CBA8AD}">
      <dgm:prSet phldrT="[Text]" custT="1"/>
      <dgm:spPr>
        <a:noFill/>
        <a:ln>
          <a:noFill/>
        </a:ln>
        <a:sp3d extrusionH="1047750" contourW="38100" prstMaterial="matte">
          <a:contourClr>
            <a:schemeClr val="lt1"/>
          </a:contourClr>
        </a:sp3d>
      </dgm:spPr>
      <dgm:t>
        <a:bodyPr/>
        <a:lstStyle/>
        <a:p>
          <a:endParaRPr lang="en-AU" sz="1100" dirty="0"/>
        </a:p>
      </dgm:t>
    </dgm:pt>
    <dgm:pt modelId="{6AD24FAD-E24B-4738-BEE2-0943E7AC80A3}" type="parTrans" cxnId="{6C0BFA9D-DABD-4038-A15C-ADD7122D8A0E}">
      <dgm:prSet/>
      <dgm:spPr/>
      <dgm:t>
        <a:bodyPr/>
        <a:lstStyle/>
        <a:p>
          <a:endParaRPr lang="en-AU" sz="1100"/>
        </a:p>
      </dgm:t>
    </dgm:pt>
    <dgm:pt modelId="{32D03705-18BE-4BF2-B6A4-17F7410EA950}" type="sibTrans" cxnId="{6C0BFA9D-DABD-4038-A15C-ADD7122D8A0E}">
      <dgm:prSet/>
      <dgm:spPr/>
      <dgm:t>
        <a:bodyPr/>
        <a:lstStyle/>
        <a:p>
          <a:endParaRPr lang="en-AU" sz="1100"/>
        </a:p>
      </dgm:t>
    </dgm:pt>
    <dgm:pt modelId="{9B2C8D11-6EEF-4D29-8003-8688225261BC}">
      <dgm:prSet custT="1"/>
      <dgm:spPr>
        <a:noFill/>
        <a:ln>
          <a:noFill/>
        </a:ln>
        <a:sp3d extrusionH="1047750" contourW="38100" prstMaterial="matte">
          <a:contourClr>
            <a:schemeClr val="lt1"/>
          </a:contourClr>
        </a:sp3d>
      </dgm:spPr>
      <dgm:t>
        <a:bodyPr/>
        <a:lstStyle/>
        <a:p>
          <a:endParaRPr lang="en-AU" sz="1100" dirty="0"/>
        </a:p>
      </dgm:t>
    </dgm:pt>
    <dgm:pt modelId="{477D8BFE-1A73-4B2C-B174-2D2C19C2D081}" type="parTrans" cxnId="{281227D6-F41E-44FB-A9DD-63B30B540FE3}">
      <dgm:prSet/>
      <dgm:spPr/>
      <dgm:t>
        <a:bodyPr/>
        <a:lstStyle/>
        <a:p>
          <a:endParaRPr lang="en-AU" sz="1100"/>
        </a:p>
      </dgm:t>
    </dgm:pt>
    <dgm:pt modelId="{0ABFB9E6-CEE2-4278-A8E5-CB86A54F0989}" type="sibTrans" cxnId="{281227D6-F41E-44FB-A9DD-63B30B540FE3}">
      <dgm:prSet/>
      <dgm:spPr/>
      <dgm:t>
        <a:bodyPr/>
        <a:lstStyle/>
        <a:p>
          <a:endParaRPr lang="en-AU" sz="1100"/>
        </a:p>
      </dgm:t>
    </dgm:pt>
    <dgm:pt modelId="{C618EBD9-C7B5-4FD1-8487-22B01A7AF443}">
      <dgm:prSet custT="1"/>
      <dgm:spPr>
        <a:solidFill>
          <a:schemeClr val="accent3">
            <a:lumMod val="20000"/>
            <a:lumOff val="80000"/>
          </a:schemeClr>
        </a:solidFill>
        <a:sp3d extrusionH="1047750" contourW="38100" prstMaterial="matte">
          <a:contourClr>
            <a:schemeClr val="lt1"/>
          </a:contourClr>
        </a:sp3d>
      </dgm:spPr>
      <dgm:t>
        <a:bodyPr/>
        <a:lstStyle/>
        <a:p>
          <a:endParaRPr lang="en-AU" sz="1400" b="1" dirty="0">
            <a:solidFill>
              <a:schemeClr val="accent3">
                <a:lumMod val="50000"/>
              </a:schemeClr>
            </a:solidFill>
          </a:endParaRPr>
        </a:p>
      </dgm:t>
    </dgm:pt>
    <dgm:pt modelId="{045436E7-EA30-40EB-82D5-E13F5C13AC4C}" type="parTrans" cxnId="{25F53A23-2684-4589-B20B-15004A05CC25}">
      <dgm:prSet/>
      <dgm:spPr/>
      <dgm:t>
        <a:bodyPr/>
        <a:lstStyle/>
        <a:p>
          <a:endParaRPr lang="en-AU" sz="1100"/>
        </a:p>
      </dgm:t>
    </dgm:pt>
    <dgm:pt modelId="{0602E7E0-D50E-4018-A978-8AED1BB06015}" type="sibTrans" cxnId="{25F53A23-2684-4589-B20B-15004A05CC25}">
      <dgm:prSet/>
      <dgm:spPr/>
      <dgm:t>
        <a:bodyPr/>
        <a:lstStyle/>
        <a:p>
          <a:endParaRPr lang="en-AU" sz="1100"/>
        </a:p>
      </dgm:t>
    </dgm:pt>
    <dgm:pt modelId="{1EDFFD92-255A-4603-B540-29D9481A12A1}">
      <dgm:prSet custT="1"/>
      <dgm:spPr>
        <a:solidFill>
          <a:schemeClr val="accent3">
            <a:lumMod val="20000"/>
            <a:lumOff val="80000"/>
          </a:schemeClr>
        </a:solidFill>
        <a:sp3d extrusionH="1047750" contourW="38100" prstMaterial="matte">
          <a:contourClr>
            <a:schemeClr val="lt1"/>
          </a:contourClr>
        </a:sp3d>
      </dgm:spPr>
      <dgm:t>
        <a:bodyPr/>
        <a:lstStyle/>
        <a:p>
          <a:endParaRPr lang="en-AU" sz="1400" b="1" dirty="0">
            <a:solidFill>
              <a:schemeClr val="accent3">
                <a:lumMod val="50000"/>
              </a:schemeClr>
            </a:solidFill>
          </a:endParaRPr>
        </a:p>
      </dgm:t>
    </dgm:pt>
    <dgm:pt modelId="{6795C1F2-394C-4245-94A6-1C7E966ECA6A}" type="parTrans" cxnId="{41B938D3-5D32-4801-B5D6-B2B1EA8C63EB}">
      <dgm:prSet/>
      <dgm:spPr/>
      <dgm:t>
        <a:bodyPr/>
        <a:lstStyle/>
        <a:p>
          <a:endParaRPr lang="en-AU" sz="1100"/>
        </a:p>
      </dgm:t>
    </dgm:pt>
    <dgm:pt modelId="{0DFBE03B-FF0C-456C-9E13-416B00EDD10C}" type="sibTrans" cxnId="{41B938D3-5D32-4801-B5D6-B2B1EA8C63EB}">
      <dgm:prSet/>
      <dgm:spPr/>
      <dgm:t>
        <a:bodyPr/>
        <a:lstStyle/>
        <a:p>
          <a:endParaRPr lang="en-AU" sz="1100"/>
        </a:p>
      </dgm:t>
    </dgm:pt>
    <dgm:pt modelId="{0A2C2273-DEED-4B1C-AFBD-15967E38571F}">
      <dgm:prSet custT="1"/>
      <dgm:spPr>
        <a:solidFill>
          <a:schemeClr val="accent5">
            <a:lumMod val="60000"/>
            <a:lumOff val="40000"/>
          </a:schemeClr>
        </a:solidFill>
        <a:sp3d extrusionH="1047750" contourW="38100" prstMaterial="matte">
          <a:contourClr>
            <a:schemeClr val="lt1"/>
          </a:contourClr>
        </a:sp3d>
      </dgm:spPr>
      <dgm:t>
        <a:bodyPr/>
        <a:lstStyle/>
        <a:p>
          <a:endParaRPr lang="en-AU" sz="1400" b="1" dirty="0">
            <a:solidFill>
              <a:schemeClr val="accent3">
                <a:lumMod val="50000"/>
              </a:schemeClr>
            </a:solidFill>
          </a:endParaRPr>
        </a:p>
      </dgm:t>
    </dgm:pt>
    <dgm:pt modelId="{B6507253-A8B5-467A-A894-A1E1D2E3D3EF}" type="parTrans" cxnId="{A85F0C7C-85AA-435F-A882-9A798912E39C}">
      <dgm:prSet/>
      <dgm:spPr/>
      <dgm:t>
        <a:bodyPr/>
        <a:lstStyle/>
        <a:p>
          <a:endParaRPr lang="en-AU" sz="1100"/>
        </a:p>
      </dgm:t>
    </dgm:pt>
    <dgm:pt modelId="{9EF11C09-97E3-493B-BEA0-2DC8FA28C1CF}" type="sibTrans" cxnId="{A85F0C7C-85AA-435F-A882-9A798912E39C}">
      <dgm:prSet/>
      <dgm:spPr/>
      <dgm:t>
        <a:bodyPr/>
        <a:lstStyle/>
        <a:p>
          <a:endParaRPr lang="en-AU" sz="1100"/>
        </a:p>
      </dgm:t>
    </dgm:pt>
    <dgm:pt modelId="{30FDDF48-4B2A-47B8-9053-40E31D7ADC07}">
      <dgm:prSet custT="1"/>
      <dgm:spPr>
        <a:solidFill>
          <a:schemeClr val="accent3">
            <a:lumMod val="20000"/>
            <a:lumOff val="80000"/>
          </a:schemeClr>
        </a:solidFill>
        <a:sp3d extrusionH="1047750" contourW="38100" prstMaterial="matte">
          <a:contourClr>
            <a:schemeClr val="lt1"/>
          </a:contourClr>
        </a:sp3d>
      </dgm:spPr>
      <dgm:t>
        <a:bodyPr/>
        <a:lstStyle/>
        <a:p>
          <a:endParaRPr lang="en-AU" sz="1100" dirty="0"/>
        </a:p>
      </dgm:t>
    </dgm:pt>
    <dgm:pt modelId="{86BDB09E-02E5-45E7-8EBB-2EB3D49B2C63}" type="parTrans" cxnId="{C1927B08-656D-4F7A-B114-E2BE60EB255F}">
      <dgm:prSet/>
      <dgm:spPr/>
      <dgm:t>
        <a:bodyPr/>
        <a:lstStyle/>
        <a:p>
          <a:endParaRPr lang="en-AU" sz="1100"/>
        </a:p>
      </dgm:t>
    </dgm:pt>
    <dgm:pt modelId="{9626F6C1-E331-4645-B3BB-279FB9F6B326}" type="sibTrans" cxnId="{C1927B08-656D-4F7A-B114-E2BE60EB255F}">
      <dgm:prSet/>
      <dgm:spPr/>
      <dgm:t>
        <a:bodyPr/>
        <a:lstStyle/>
        <a:p>
          <a:endParaRPr lang="en-AU" sz="1100"/>
        </a:p>
      </dgm:t>
    </dgm:pt>
    <dgm:pt modelId="{0B883188-AF54-43C0-A817-D94CBF02435B}">
      <dgm:prSet custT="1"/>
      <dgm:spPr>
        <a:solidFill>
          <a:schemeClr val="accent3">
            <a:lumMod val="20000"/>
            <a:lumOff val="80000"/>
          </a:schemeClr>
        </a:solidFill>
        <a:sp3d extrusionH="1047750" contourW="38100" prstMaterial="matte">
          <a:contourClr>
            <a:schemeClr val="lt1"/>
          </a:contourClr>
        </a:sp3d>
      </dgm:spPr>
      <dgm:t>
        <a:bodyPr/>
        <a:lstStyle/>
        <a:p>
          <a:endParaRPr lang="en-AU" sz="1100" dirty="0"/>
        </a:p>
      </dgm:t>
    </dgm:pt>
    <dgm:pt modelId="{49304204-E40D-42BF-B011-7DA311E1E242}" type="parTrans" cxnId="{DF8C9D40-3C65-4B6E-A4B8-8EC6C1B8923E}">
      <dgm:prSet/>
      <dgm:spPr/>
      <dgm:t>
        <a:bodyPr/>
        <a:lstStyle/>
        <a:p>
          <a:endParaRPr lang="en-AU" sz="1100"/>
        </a:p>
      </dgm:t>
    </dgm:pt>
    <dgm:pt modelId="{A93A2BE1-7E77-4605-BD4D-F907159A9459}" type="sibTrans" cxnId="{DF8C9D40-3C65-4B6E-A4B8-8EC6C1B8923E}">
      <dgm:prSet/>
      <dgm:spPr/>
      <dgm:t>
        <a:bodyPr/>
        <a:lstStyle/>
        <a:p>
          <a:endParaRPr lang="en-AU" sz="1100"/>
        </a:p>
      </dgm:t>
    </dgm:pt>
    <dgm:pt modelId="{2D04FA8D-BB88-406F-8825-9D901F5E43DC}">
      <dgm:prSet phldrT="[Text]" custT="1"/>
      <dgm:spPr>
        <a:noFill/>
        <a:ln>
          <a:noFill/>
        </a:ln>
        <a:sp3d extrusionH="1047750" contourW="38100" prstMaterial="matte">
          <a:contourClr>
            <a:schemeClr val="lt1"/>
          </a:contourClr>
        </a:sp3d>
      </dgm:spPr>
      <dgm:t>
        <a:bodyPr/>
        <a:lstStyle/>
        <a:p>
          <a:endParaRPr lang="en-AU" sz="1400" b="1" dirty="0">
            <a:solidFill>
              <a:schemeClr val="bg1"/>
            </a:solidFill>
          </a:endParaRPr>
        </a:p>
      </dgm:t>
    </dgm:pt>
    <dgm:pt modelId="{BCE23B7D-83E2-452C-B772-203C4D3DAFBC}" type="sibTrans" cxnId="{E6E16200-DD12-46C2-8761-87515A534409}">
      <dgm:prSet/>
      <dgm:spPr/>
      <dgm:t>
        <a:bodyPr/>
        <a:lstStyle/>
        <a:p>
          <a:endParaRPr lang="en-AU" sz="1100"/>
        </a:p>
      </dgm:t>
    </dgm:pt>
    <dgm:pt modelId="{706EE3E5-D475-45D7-8467-A140E3155281}" type="parTrans" cxnId="{E6E16200-DD12-46C2-8761-87515A534409}">
      <dgm:prSet/>
      <dgm:spPr/>
      <dgm:t>
        <a:bodyPr/>
        <a:lstStyle/>
        <a:p>
          <a:endParaRPr lang="en-AU" sz="1100"/>
        </a:p>
      </dgm:t>
    </dgm:pt>
    <dgm:pt modelId="{72DD5B9D-AAAA-41BD-ADAA-267641AC3BF8}" type="pres">
      <dgm:prSet presAssocID="{EA0956EC-2B2E-416A-9FE1-0CE6657E36F2}" presName="compositeShape" presStyleCnt="0">
        <dgm:presLayoutVars>
          <dgm:chMax val="9"/>
          <dgm:dir/>
          <dgm:resizeHandles val="exact"/>
        </dgm:presLayoutVars>
      </dgm:prSet>
      <dgm:spPr/>
    </dgm:pt>
    <dgm:pt modelId="{FAE4F576-3E13-497A-A13A-BB5A3D52B81C}" type="pres">
      <dgm:prSet presAssocID="{EA0956EC-2B2E-416A-9FE1-0CE6657E36F2}" presName="triangle1" presStyleLbl="node1" presStyleIdx="0" presStyleCnt="9">
        <dgm:presLayoutVars>
          <dgm:bulletEnabled val="1"/>
        </dgm:presLayoutVars>
      </dgm:prSet>
      <dgm:spPr/>
      <dgm:t>
        <a:bodyPr/>
        <a:lstStyle/>
        <a:p>
          <a:endParaRPr lang="en-AU"/>
        </a:p>
      </dgm:t>
    </dgm:pt>
    <dgm:pt modelId="{43CBE395-04DE-472C-9C53-5F3712E79318}" type="pres">
      <dgm:prSet presAssocID="{EA0956EC-2B2E-416A-9FE1-0CE6657E36F2}" presName="triangle2" presStyleLbl="node1" presStyleIdx="1" presStyleCnt="9">
        <dgm:presLayoutVars>
          <dgm:bulletEnabled val="1"/>
        </dgm:presLayoutVars>
      </dgm:prSet>
      <dgm:spPr/>
      <dgm:t>
        <a:bodyPr/>
        <a:lstStyle/>
        <a:p>
          <a:endParaRPr lang="en-AU"/>
        </a:p>
      </dgm:t>
    </dgm:pt>
    <dgm:pt modelId="{BC33E4BD-6E2D-49AD-91C2-3327B21344AB}" type="pres">
      <dgm:prSet presAssocID="{EA0956EC-2B2E-416A-9FE1-0CE6657E36F2}" presName="triangle3" presStyleLbl="node1" presStyleIdx="2" presStyleCnt="9">
        <dgm:presLayoutVars>
          <dgm:bulletEnabled val="1"/>
        </dgm:presLayoutVars>
      </dgm:prSet>
      <dgm:spPr/>
      <dgm:t>
        <a:bodyPr/>
        <a:lstStyle/>
        <a:p>
          <a:endParaRPr lang="en-AU"/>
        </a:p>
      </dgm:t>
    </dgm:pt>
    <dgm:pt modelId="{AA2112CD-7153-4A6A-BFD8-73A95A4DED8A}" type="pres">
      <dgm:prSet presAssocID="{EA0956EC-2B2E-416A-9FE1-0CE6657E36F2}" presName="triangle4" presStyleLbl="node1" presStyleIdx="3" presStyleCnt="9">
        <dgm:presLayoutVars>
          <dgm:bulletEnabled val="1"/>
        </dgm:presLayoutVars>
      </dgm:prSet>
      <dgm:spPr/>
      <dgm:t>
        <a:bodyPr/>
        <a:lstStyle/>
        <a:p>
          <a:endParaRPr lang="en-AU"/>
        </a:p>
      </dgm:t>
    </dgm:pt>
    <dgm:pt modelId="{6B6C698E-D631-4CFE-85E0-9D2BAA8B12FA}" type="pres">
      <dgm:prSet presAssocID="{EA0956EC-2B2E-416A-9FE1-0CE6657E36F2}" presName="triangle5" presStyleLbl="node1" presStyleIdx="4" presStyleCnt="9">
        <dgm:presLayoutVars>
          <dgm:bulletEnabled val="1"/>
        </dgm:presLayoutVars>
      </dgm:prSet>
      <dgm:spPr/>
      <dgm:t>
        <a:bodyPr/>
        <a:lstStyle/>
        <a:p>
          <a:endParaRPr lang="en-AU"/>
        </a:p>
      </dgm:t>
    </dgm:pt>
    <dgm:pt modelId="{E284D50A-EEAA-42A0-858F-517F6B07B3E9}" type="pres">
      <dgm:prSet presAssocID="{EA0956EC-2B2E-416A-9FE1-0CE6657E36F2}" presName="triangle6" presStyleLbl="node1" presStyleIdx="5" presStyleCnt="9">
        <dgm:presLayoutVars>
          <dgm:bulletEnabled val="1"/>
        </dgm:presLayoutVars>
      </dgm:prSet>
      <dgm:spPr/>
      <dgm:t>
        <a:bodyPr/>
        <a:lstStyle/>
        <a:p>
          <a:endParaRPr lang="en-AU"/>
        </a:p>
      </dgm:t>
    </dgm:pt>
    <dgm:pt modelId="{7ECD91D2-08F2-4887-BB32-D449BA46AACF}" type="pres">
      <dgm:prSet presAssocID="{EA0956EC-2B2E-416A-9FE1-0CE6657E36F2}" presName="triangle7" presStyleLbl="node1" presStyleIdx="6" presStyleCnt="9">
        <dgm:presLayoutVars>
          <dgm:bulletEnabled val="1"/>
        </dgm:presLayoutVars>
      </dgm:prSet>
      <dgm:spPr/>
      <dgm:t>
        <a:bodyPr/>
        <a:lstStyle/>
        <a:p>
          <a:endParaRPr lang="en-AU"/>
        </a:p>
      </dgm:t>
    </dgm:pt>
    <dgm:pt modelId="{E986598F-521D-4DDE-8208-46CEBA1AF92D}" type="pres">
      <dgm:prSet presAssocID="{EA0956EC-2B2E-416A-9FE1-0CE6657E36F2}" presName="triangle8" presStyleLbl="node1" presStyleIdx="7" presStyleCnt="9">
        <dgm:presLayoutVars>
          <dgm:bulletEnabled val="1"/>
        </dgm:presLayoutVars>
      </dgm:prSet>
      <dgm:spPr/>
      <dgm:t>
        <a:bodyPr/>
        <a:lstStyle/>
        <a:p>
          <a:endParaRPr lang="en-AU"/>
        </a:p>
      </dgm:t>
    </dgm:pt>
    <dgm:pt modelId="{B296E51F-C11C-4D32-B33A-17F659FECD7D}" type="pres">
      <dgm:prSet presAssocID="{EA0956EC-2B2E-416A-9FE1-0CE6657E36F2}" presName="triangle9" presStyleLbl="node1" presStyleIdx="8" presStyleCnt="9">
        <dgm:presLayoutVars>
          <dgm:bulletEnabled val="1"/>
        </dgm:presLayoutVars>
      </dgm:prSet>
      <dgm:spPr/>
      <dgm:t>
        <a:bodyPr/>
        <a:lstStyle/>
        <a:p>
          <a:endParaRPr lang="en-AU"/>
        </a:p>
      </dgm:t>
    </dgm:pt>
  </dgm:ptLst>
  <dgm:cxnLst>
    <dgm:cxn modelId="{01D9060C-AA49-4188-9DB2-E4B73993BFD9}" type="presOf" srcId="{2D04FA8D-BB88-406F-8825-9D901F5E43DC}" destId="{43CBE395-04DE-472C-9C53-5F3712E79318}" srcOrd="0" destOrd="0" presId="urn:microsoft.com/office/officeart/2005/8/layout/pyramid4"/>
    <dgm:cxn modelId="{C68DF17E-F5FF-4283-B1C3-4FD7AA19E95C}" type="presOf" srcId="{0B883188-AF54-43C0-A817-D94CBF02435B}" destId="{B296E51F-C11C-4D32-B33A-17F659FECD7D}" srcOrd="0" destOrd="0" presId="urn:microsoft.com/office/officeart/2005/8/layout/pyramid4"/>
    <dgm:cxn modelId="{25F53A23-2684-4589-B20B-15004A05CC25}" srcId="{EA0956EC-2B2E-416A-9FE1-0CE6657E36F2}" destId="{C618EBD9-C7B5-4FD1-8487-22B01A7AF443}" srcOrd="4" destOrd="0" parTransId="{045436E7-EA30-40EB-82D5-E13F5C13AC4C}" sibTransId="{0602E7E0-D50E-4018-A978-8AED1BB06015}"/>
    <dgm:cxn modelId="{D6E878FE-1834-4D66-B62A-2E8710B9A5D4}" srcId="{EA0956EC-2B2E-416A-9FE1-0CE6657E36F2}" destId="{E91854BF-D18F-41EE-89FD-398D30CD1362}" srcOrd="0" destOrd="0" parTransId="{481D62F9-9286-4807-B30E-2AB95DCC085E}" sibTransId="{F5E7BF15-0C5F-4DCE-862E-144BFA9B22CA}"/>
    <dgm:cxn modelId="{C1927B08-656D-4F7A-B114-E2BE60EB255F}" srcId="{EA0956EC-2B2E-416A-9FE1-0CE6657E36F2}" destId="{30FDDF48-4B2A-47B8-9053-40E31D7ADC07}" srcOrd="7" destOrd="0" parTransId="{86BDB09E-02E5-45E7-8EBB-2EB3D49B2C63}" sibTransId="{9626F6C1-E331-4645-B3BB-279FB9F6B326}"/>
    <dgm:cxn modelId="{AEBB57DF-5B10-44E3-A80E-D63B0C236977}" type="presOf" srcId="{0A2C2273-DEED-4B1C-AFBD-15967E38571F}" destId="{7ECD91D2-08F2-4887-BB32-D449BA46AACF}" srcOrd="0" destOrd="0" presId="urn:microsoft.com/office/officeart/2005/8/layout/pyramid4"/>
    <dgm:cxn modelId="{BC9F68BC-035B-4036-A39A-DD4587395EB6}" type="presOf" srcId="{D0421A5F-D4AC-431C-8723-7F1BF1CBA8AD}" destId="{BC33E4BD-6E2D-49AD-91C2-3327B21344AB}" srcOrd="0" destOrd="0" presId="urn:microsoft.com/office/officeart/2005/8/layout/pyramid4"/>
    <dgm:cxn modelId="{224F7623-F001-4569-9153-E28A554B69DD}" type="presOf" srcId="{E91854BF-D18F-41EE-89FD-398D30CD1362}" destId="{FAE4F576-3E13-497A-A13A-BB5A3D52B81C}" srcOrd="0" destOrd="0" presId="urn:microsoft.com/office/officeart/2005/8/layout/pyramid4"/>
    <dgm:cxn modelId="{281227D6-F41E-44FB-A9DD-63B30B540FE3}" srcId="{EA0956EC-2B2E-416A-9FE1-0CE6657E36F2}" destId="{9B2C8D11-6EEF-4D29-8003-8688225261BC}" srcOrd="3" destOrd="0" parTransId="{477D8BFE-1A73-4B2C-B174-2D2C19C2D081}" sibTransId="{0ABFB9E6-CEE2-4278-A8E5-CB86A54F0989}"/>
    <dgm:cxn modelId="{41B938D3-5D32-4801-B5D6-B2B1EA8C63EB}" srcId="{EA0956EC-2B2E-416A-9FE1-0CE6657E36F2}" destId="{1EDFFD92-255A-4603-B540-29D9481A12A1}" srcOrd="5" destOrd="0" parTransId="{6795C1F2-394C-4245-94A6-1C7E966ECA6A}" sibTransId="{0DFBE03B-FF0C-456C-9E13-416B00EDD10C}"/>
    <dgm:cxn modelId="{75034E18-6FD2-42D0-A419-EF6DAC7C5C2E}" type="presOf" srcId="{30FDDF48-4B2A-47B8-9053-40E31D7ADC07}" destId="{E986598F-521D-4DDE-8208-46CEBA1AF92D}" srcOrd="0" destOrd="0" presId="urn:microsoft.com/office/officeart/2005/8/layout/pyramid4"/>
    <dgm:cxn modelId="{4603C567-D056-4E86-A7FF-ED4A471DDAA8}" type="presOf" srcId="{C618EBD9-C7B5-4FD1-8487-22B01A7AF443}" destId="{6B6C698E-D631-4CFE-85E0-9D2BAA8B12FA}" srcOrd="0" destOrd="0" presId="urn:microsoft.com/office/officeart/2005/8/layout/pyramid4"/>
    <dgm:cxn modelId="{9DCC004B-6FA9-4CF8-8640-27561F8E1E00}" type="presOf" srcId="{1EDFFD92-255A-4603-B540-29D9481A12A1}" destId="{E284D50A-EEAA-42A0-858F-517F6B07B3E9}" srcOrd="0" destOrd="0" presId="urn:microsoft.com/office/officeart/2005/8/layout/pyramid4"/>
    <dgm:cxn modelId="{E6E16200-DD12-46C2-8761-87515A534409}" srcId="{EA0956EC-2B2E-416A-9FE1-0CE6657E36F2}" destId="{2D04FA8D-BB88-406F-8825-9D901F5E43DC}" srcOrd="1" destOrd="0" parTransId="{706EE3E5-D475-45D7-8467-A140E3155281}" sibTransId="{BCE23B7D-83E2-452C-B772-203C4D3DAFBC}"/>
    <dgm:cxn modelId="{DF8C9D40-3C65-4B6E-A4B8-8EC6C1B8923E}" srcId="{EA0956EC-2B2E-416A-9FE1-0CE6657E36F2}" destId="{0B883188-AF54-43C0-A817-D94CBF02435B}" srcOrd="8" destOrd="0" parTransId="{49304204-E40D-42BF-B011-7DA311E1E242}" sibTransId="{A93A2BE1-7E77-4605-BD4D-F907159A9459}"/>
    <dgm:cxn modelId="{C18B7431-F871-4298-B29C-95CAF1D13972}" type="presOf" srcId="{9B2C8D11-6EEF-4D29-8003-8688225261BC}" destId="{AA2112CD-7153-4A6A-BFD8-73A95A4DED8A}" srcOrd="0" destOrd="0" presId="urn:microsoft.com/office/officeart/2005/8/layout/pyramid4"/>
    <dgm:cxn modelId="{89E6E9CB-4F7E-4D9D-B230-2A050C7BB210}" type="presOf" srcId="{EA0956EC-2B2E-416A-9FE1-0CE6657E36F2}" destId="{72DD5B9D-AAAA-41BD-ADAA-267641AC3BF8}" srcOrd="0" destOrd="0" presId="urn:microsoft.com/office/officeart/2005/8/layout/pyramid4"/>
    <dgm:cxn modelId="{A85F0C7C-85AA-435F-A882-9A798912E39C}" srcId="{EA0956EC-2B2E-416A-9FE1-0CE6657E36F2}" destId="{0A2C2273-DEED-4B1C-AFBD-15967E38571F}" srcOrd="6" destOrd="0" parTransId="{B6507253-A8B5-467A-A894-A1E1D2E3D3EF}" sibTransId="{9EF11C09-97E3-493B-BEA0-2DC8FA28C1CF}"/>
    <dgm:cxn modelId="{6C0BFA9D-DABD-4038-A15C-ADD7122D8A0E}" srcId="{EA0956EC-2B2E-416A-9FE1-0CE6657E36F2}" destId="{D0421A5F-D4AC-431C-8723-7F1BF1CBA8AD}" srcOrd="2" destOrd="0" parTransId="{6AD24FAD-E24B-4738-BEE2-0943E7AC80A3}" sibTransId="{32D03705-18BE-4BF2-B6A4-17F7410EA950}"/>
    <dgm:cxn modelId="{EFFDEB9E-5F9D-49AC-984F-1658A888895D}" type="presParOf" srcId="{72DD5B9D-AAAA-41BD-ADAA-267641AC3BF8}" destId="{FAE4F576-3E13-497A-A13A-BB5A3D52B81C}" srcOrd="0" destOrd="0" presId="urn:microsoft.com/office/officeart/2005/8/layout/pyramid4"/>
    <dgm:cxn modelId="{1ABB0A42-5533-4202-BDE2-D3839C2486B3}" type="presParOf" srcId="{72DD5B9D-AAAA-41BD-ADAA-267641AC3BF8}" destId="{43CBE395-04DE-472C-9C53-5F3712E79318}" srcOrd="1" destOrd="0" presId="urn:microsoft.com/office/officeart/2005/8/layout/pyramid4"/>
    <dgm:cxn modelId="{2A3DEBC8-F3CD-4AD0-AB86-4AF9B40F345C}" type="presParOf" srcId="{72DD5B9D-AAAA-41BD-ADAA-267641AC3BF8}" destId="{BC33E4BD-6E2D-49AD-91C2-3327B21344AB}" srcOrd="2" destOrd="0" presId="urn:microsoft.com/office/officeart/2005/8/layout/pyramid4"/>
    <dgm:cxn modelId="{19E56C16-67D3-4D84-A10E-1539B72C5438}" type="presParOf" srcId="{72DD5B9D-AAAA-41BD-ADAA-267641AC3BF8}" destId="{AA2112CD-7153-4A6A-BFD8-73A95A4DED8A}" srcOrd="3" destOrd="0" presId="urn:microsoft.com/office/officeart/2005/8/layout/pyramid4"/>
    <dgm:cxn modelId="{B6212D2B-41D7-428A-AA3B-B5A7C10A2DBF}" type="presParOf" srcId="{72DD5B9D-AAAA-41BD-ADAA-267641AC3BF8}" destId="{6B6C698E-D631-4CFE-85E0-9D2BAA8B12FA}" srcOrd="4" destOrd="0" presId="urn:microsoft.com/office/officeart/2005/8/layout/pyramid4"/>
    <dgm:cxn modelId="{DBA08DAE-BA83-4AB9-9F9A-96B904C0BD5F}" type="presParOf" srcId="{72DD5B9D-AAAA-41BD-ADAA-267641AC3BF8}" destId="{E284D50A-EEAA-42A0-858F-517F6B07B3E9}" srcOrd="5" destOrd="0" presId="urn:microsoft.com/office/officeart/2005/8/layout/pyramid4"/>
    <dgm:cxn modelId="{78D7824B-ECF3-4CA9-9F49-3AA057C1DF9D}" type="presParOf" srcId="{72DD5B9D-AAAA-41BD-ADAA-267641AC3BF8}" destId="{7ECD91D2-08F2-4887-BB32-D449BA46AACF}" srcOrd="6" destOrd="0" presId="urn:microsoft.com/office/officeart/2005/8/layout/pyramid4"/>
    <dgm:cxn modelId="{25819D21-C460-4E1F-8A68-C55998BDA024}" type="presParOf" srcId="{72DD5B9D-AAAA-41BD-ADAA-267641AC3BF8}" destId="{E986598F-521D-4DDE-8208-46CEBA1AF92D}" srcOrd="7" destOrd="0" presId="urn:microsoft.com/office/officeart/2005/8/layout/pyramid4"/>
    <dgm:cxn modelId="{9E14E47A-F5A4-4E6B-A66B-356BC3FEA90B}" type="presParOf" srcId="{72DD5B9D-AAAA-41BD-ADAA-267641AC3BF8}" destId="{B296E51F-C11C-4D32-B33A-17F659FECD7D}" srcOrd="8" destOrd="0" presId="urn:microsoft.com/office/officeart/2005/8/layout/pyramid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F5D4853-13CE-4A75-BA08-97426749263D}" type="doc">
      <dgm:prSet loTypeId="urn:microsoft.com/office/officeart/2005/8/layout/arrow5" loCatId="process" qsTypeId="urn:microsoft.com/office/officeart/2005/8/quickstyle/simple1" qsCatId="simple" csTypeId="urn:microsoft.com/office/officeart/2005/8/colors/accent1_2" csCatId="accent1" phldr="0"/>
      <dgm:spPr/>
      <dgm:t>
        <a:bodyPr/>
        <a:lstStyle/>
        <a:p>
          <a:endParaRPr lang="en-US"/>
        </a:p>
      </dgm:t>
    </dgm:pt>
    <dgm:pt modelId="{AF2F8EA1-7928-4DAB-A64F-C84A1676AE60}">
      <dgm:prSet phldrT="[Text]" phldr="1"/>
      <dgm:spPr/>
      <dgm:t>
        <a:bodyPr/>
        <a:lstStyle/>
        <a:p>
          <a:endParaRPr lang="en-US"/>
        </a:p>
      </dgm:t>
    </dgm:pt>
    <dgm:pt modelId="{262DBFB2-8BA3-4AE5-98A1-CBC5F075A9F7}" type="parTrans" cxnId="{55851484-418E-4D92-8ECF-89F5F80BE96E}">
      <dgm:prSet/>
      <dgm:spPr/>
      <dgm:t>
        <a:bodyPr/>
        <a:lstStyle/>
        <a:p>
          <a:endParaRPr lang="en-US"/>
        </a:p>
      </dgm:t>
    </dgm:pt>
    <dgm:pt modelId="{240D95DC-0A59-4ED2-854E-F210E301DDF9}" type="sibTrans" cxnId="{55851484-418E-4D92-8ECF-89F5F80BE96E}">
      <dgm:prSet/>
      <dgm:spPr/>
      <dgm:t>
        <a:bodyPr/>
        <a:lstStyle/>
        <a:p>
          <a:endParaRPr lang="en-US"/>
        </a:p>
      </dgm:t>
    </dgm:pt>
    <dgm:pt modelId="{83732DDE-EFAC-48B8-8532-AE9131119CAF}">
      <dgm:prSet phldrT="[Text]" phldr="1"/>
      <dgm:spPr/>
      <dgm:t>
        <a:bodyPr/>
        <a:lstStyle/>
        <a:p>
          <a:endParaRPr lang="en-US"/>
        </a:p>
      </dgm:t>
    </dgm:pt>
    <dgm:pt modelId="{EF4E2A77-1B43-44CA-AC77-0E4AB2BC7238}" type="parTrans" cxnId="{74AB5E5B-DEC7-4853-878B-BA94F5C41862}">
      <dgm:prSet/>
      <dgm:spPr/>
      <dgm:t>
        <a:bodyPr/>
        <a:lstStyle/>
        <a:p>
          <a:endParaRPr lang="en-US"/>
        </a:p>
      </dgm:t>
    </dgm:pt>
    <dgm:pt modelId="{D59C28D6-1792-4981-A50A-F8F429E408B6}" type="sibTrans" cxnId="{74AB5E5B-DEC7-4853-878B-BA94F5C41862}">
      <dgm:prSet/>
      <dgm:spPr/>
      <dgm:t>
        <a:bodyPr/>
        <a:lstStyle/>
        <a:p>
          <a:endParaRPr lang="en-US"/>
        </a:p>
      </dgm:t>
    </dgm:pt>
    <dgm:pt modelId="{6C96D461-5A4A-47EF-8789-1AC7471BD2BF}" type="pres">
      <dgm:prSet presAssocID="{5F5D4853-13CE-4A75-BA08-97426749263D}" presName="diagram" presStyleCnt="0">
        <dgm:presLayoutVars>
          <dgm:dir/>
          <dgm:resizeHandles val="exact"/>
        </dgm:presLayoutVars>
      </dgm:prSet>
      <dgm:spPr/>
      <dgm:t>
        <a:bodyPr/>
        <a:lstStyle/>
        <a:p>
          <a:endParaRPr lang="en-US"/>
        </a:p>
      </dgm:t>
    </dgm:pt>
    <dgm:pt modelId="{BE14C91D-571A-4492-9E35-0988F34B37F7}" type="pres">
      <dgm:prSet presAssocID="{AF2F8EA1-7928-4DAB-A64F-C84A1676AE60}" presName="arrow" presStyleLbl="node1" presStyleIdx="0" presStyleCnt="2" custRadScaleRad="100330" custRadScaleInc="-2584">
        <dgm:presLayoutVars>
          <dgm:bulletEnabled val="1"/>
        </dgm:presLayoutVars>
      </dgm:prSet>
      <dgm:spPr/>
      <dgm:t>
        <a:bodyPr/>
        <a:lstStyle/>
        <a:p>
          <a:endParaRPr lang="en-US"/>
        </a:p>
      </dgm:t>
    </dgm:pt>
    <dgm:pt modelId="{A30398F3-94D6-4E7F-983A-FAD782C7F1FF}" type="pres">
      <dgm:prSet presAssocID="{83732DDE-EFAC-48B8-8532-AE9131119CAF}" presName="arrow" presStyleLbl="node1" presStyleIdx="1" presStyleCnt="2" custRadScaleRad="674478" custRadScaleInc="21350">
        <dgm:presLayoutVars>
          <dgm:bulletEnabled val="1"/>
        </dgm:presLayoutVars>
      </dgm:prSet>
      <dgm:spPr/>
      <dgm:t>
        <a:bodyPr/>
        <a:lstStyle/>
        <a:p>
          <a:endParaRPr lang="en-US"/>
        </a:p>
      </dgm:t>
    </dgm:pt>
  </dgm:ptLst>
  <dgm:cxnLst>
    <dgm:cxn modelId="{52315F3F-478A-499C-95E7-0D4F5B83CE67}" type="presOf" srcId="{AF2F8EA1-7928-4DAB-A64F-C84A1676AE60}" destId="{BE14C91D-571A-4492-9E35-0988F34B37F7}" srcOrd="0" destOrd="0" presId="urn:microsoft.com/office/officeart/2005/8/layout/arrow5"/>
    <dgm:cxn modelId="{74AB5E5B-DEC7-4853-878B-BA94F5C41862}" srcId="{5F5D4853-13CE-4A75-BA08-97426749263D}" destId="{83732DDE-EFAC-48B8-8532-AE9131119CAF}" srcOrd="1" destOrd="0" parTransId="{EF4E2A77-1B43-44CA-AC77-0E4AB2BC7238}" sibTransId="{D59C28D6-1792-4981-A50A-F8F429E408B6}"/>
    <dgm:cxn modelId="{963A8D66-3C83-4EA3-A52B-4BB79B39CAD9}" type="presOf" srcId="{83732DDE-EFAC-48B8-8532-AE9131119CAF}" destId="{A30398F3-94D6-4E7F-983A-FAD782C7F1FF}" srcOrd="0" destOrd="0" presId="urn:microsoft.com/office/officeart/2005/8/layout/arrow5"/>
    <dgm:cxn modelId="{93D46F17-A81D-4387-A7CA-41B18198AF12}" type="presOf" srcId="{5F5D4853-13CE-4A75-BA08-97426749263D}" destId="{6C96D461-5A4A-47EF-8789-1AC7471BD2BF}" srcOrd="0" destOrd="0" presId="urn:microsoft.com/office/officeart/2005/8/layout/arrow5"/>
    <dgm:cxn modelId="{55851484-418E-4D92-8ECF-89F5F80BE96E}" srcId="{5F5D4853-13CE-4A75-BA08-97426749263D}" destId="{AF2F8EA1-7928-4DAB-A64F-C84A1676AE60}" srcOrd="0" destOrd="0" parTransId="{262DBFB2-8BA3-4AE5-98A1-CBC5F075A9F7}" sibTransId="{240D95DC-0A59-4ED2-854E-F210E301DDF9}"/>
    <dgm:cxn modelId="{6A141880-2C4C-490F-88D6-6B9064034FC2}" type="presParOf" srcId="{6C96D461-5A4A-47EF-8789-1AC7471BD2BF}" destId="{BE14C91D-571A-4492-9E35-0988F34B37F7}" srcOrd="0" destOrd="0" presId="urn:microsoft.com/office/officeart/2005/8/layout/arrow5"/>
    <dgm:cxn modelId="{B4B6AEC2-A3C9-4986-91F9-FEF3C453BB81}" type="presParOf" srcId="{6C96D461-5A4A-47EF-8789-1AC7471BD2BF}" destId="{A30398F3-94D6-4E7F-983A-FAD782C7F1FF}" srcOrd="1" destOrd="0" presId="urn:microsoft.com/office/officeart/2005/8/layout/arrow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F5D4853-13CE-4A75-BA08-97426749263D}" type="doc">
      <dgm:prSet loTypeId="urn:microsoft.com/office/officeart/2005/8/layout/arrow5" loCatId="process" qsTypeId="urn:microsoft.com/office/officeart/2005/8/quickstyle/simple1" qsCatId="simple" csTypeId="urn:microsoft.com/office/officeart/2005/8/colors/accent1_2" csCatId="accent1" phldr="0"/>
      <dgm:spPr/>
      <dgm:t>
        <a:bodyPr/>
        <a:lstStyle/>
        <a:p>
          <a:endParaRPr lang="en-US"/>
        </a:p>
      </dgm:t>
    </dgm:pt>
    <dgm:pt modelId="{AF2F8EA1-7928-4DAB-A64F-C84A1676AE60}">
      <dgm:prSet phldrT="[Text]" phldr="1"/>
      <dgm:spPr/>
      <dgm:t>
        <a:bodyPr/>
        <a:lstStyle/>
        <a:p>
          <a:endParaRPr lang="en-US"/>
        </a:p>
      </dgm:t>
    </dgm:pt>
    <dgm:pt modelId="{262DBFB2-8BA3-4AE5-98A1-CBC5F075A9F7}" type="parTrans" cxnId="{55851484-418E-4D92-8ECF-89F5F80BE96E}">
      <dgm:prSet/>
      <dgm:spPr/>
      <dgm:t>
        <a:bodyPr/>
        <a:lstStyle/>
        <a:p>
          <a:endParaRPr lang="en-US"/>
        </a:p>
      </dgm:t>
    </dgm:pt>
    <dgm:pt modelId="{240D95DC-0A59-4ED2-854E-F210E301DDF9}" type="sibTrans" cxnId="{55851484-418E-4D92-8ECF-89F5F80BE96E}">
      <dgm:prSet/>
      <dgm:spPr/>
      <dgm:t>
        <a:bodyPr/>
        <a:lstStyle/>
        <a:p>
          <a:endParaRPr lang="en-US"/>
        </a:p>
      </dgm:t>
    </dgm:pt>
    <dgm:pt modelId="{83732DDE-EFAC-48B8-8532-AE9131119CAF}">
      <dgm:prSet phldrT="[Text]" phldr="1"/>
      <dgm:spPr/>
      <dgm:t>
        <a:bodyPr/>
        <a:lstStyle/>
        <a:p>
          <a:endParaRPr lang="en-US"/>
        </a:p>
      </dgm:t>
    </dgm:pt>
    <dgm:pt modelId="{EF4E2A77-1B43-44CA-AC77-0E4AB2BC7238}" type="parTrans" cxnId="{74AB5E5B-DEC7-4853-878B-BA94F5C41862}">
      <dgm:prSet/>
      <dgm:spPr/>
      <dgm:t>
        <a:bodyPr/>
        <a:lstStyle/>
        <a:p>
          <a:endParaRPr lang="en-US"/>
        </a:p>
      </dgm:t>
    </dgm:pt>
    <dgm:pt modelId="{D59C28D6-1792-4981-A50A-F8F429E408B6}" type="sibTrans" cxnId="{74AB5E5B-DEC7-4853-878B-BA94F5C41862}">
      <dgm:prSet/>
      <dgm:spPr/>
      <dgm:t>
        <a:bodyPr/>
        <a:lstStyle/>
        <a:p>
          <a:endParaRPr lang="en-US"/>
        </a:p>
      </dgm:t>
    </dgm:pt>
    <dgm:pt modelId="{6C96D461-5A4A-47EF-8789-1AC7471BD2BF}" type="pres">
      <dgm:prSet presAssocID="{5F5D4853-13CE-4A75-BA08-97426749263D}" presName="diagram" presStyleCnt="0">
        <dgm:presLayoutVars>
          <dgm:dir/>
          <dgm:resizeHandles val="exact"/>
        </dgm:presLayoutVars>
      </dgm:prSet>
      <dgm:spPr/>
      <dgm:t>
        <a:bodyPr/>
        <a:lstStyle/>
        <a:p>
          <a:endParaRPr lang="en-US"/>
        </a:p>
      </dgm:t>
    </dgm:pt>
    <dgm:pt modelId="{BE14C91D-571A-4492-9E35-0988F34B37F7}" type="pres">
      <dgm:prSet presAssocID="{AF2F8EA1-7928-4DAB-A64F-C84A1676AE60}" presName="arrow" presStyleLbl="node1" presStyleIdx="0" presStyleCnt="2" custRadScaleRad="100330" custRadScaleInc="-2584">
        <dgm:presLayoutVars>
          <dgm:bulletEnabled val="1"/>
        </dgm:presLayoutVars>
      </dgm:prSet>
      <dgm:spPr/>
      <dgm:t>
        <a:bodyPr/>
        <a:lstStyle/>
        <a:p>
          <a:endParaRPr lang="en-US"/>
        </a:p>
      </dgm:t>
    </dgm:pt>
    <dgm:pt modelId="{A30398F3-94D6-4E7F-983A-FAD782C7F1FF}" type="pres">
      <dgm:prSet presAssocID="{83732DDE-EFAC-48B8-8532-AE9131119CAF}" presName="arrow" presStyleLbl="node1" presStyleIdx="1" presStyleCnt="2" custRadScaleRad="674478" custRadScaleInc="21350">
        <dgm:presLayoutVars>
          <dgm:bulletEnabled val="1"/>
        </dgm:presLayoutVars>
      </dgm:prSet>
      <dgm:spPr/>
      <dgm:t>
        <a:bodyPr/>
        <a:lstStyle/>
        <a:p>
          <a:endParaRPr lang="en-US"/>
        </a:p>
      </dgm:t>
    </dgm:pt>
  </dgm:ptLst>
  <dgm:cxnLst>
    <dgm:cxn modelId="{69EDAF5D-77F8-469A-9863-A4675ECB4EFC}" type="presOf" srcId="{AF2F8EA1-7928-4DAB-A64F-C84A1676AE60}" destId="{BE14C91D-571A-4492-9E35-0988F34B37F7}" srcOrd="0" destOrd="0" presId="urn:microsoft.com/office/officeart/2005/8/layout/arrow5"/>
    <dgm:cxn modelId="{6B045084-815A-43DA-88D5-D1F019895B54}" type="presOf" srcId="{83732DDE-EFAC-48B8-8532-AE9131119CAF}" destId="{A30398F3-94D6-4E7F-983A-FAD782C7F1FF}" srcOrd="0" destOrd="0" presId="urn:microsoft.com/office/officeart/2005/8/layout/arrow5"/>
    <dgm:cxn modelId="{74AB5E5B-DEC7-4853-878B-BA94F5C41862}" srcId="{5F5D4853-13CE-4A75-BA08-97426749263D}" destId="{83732DDE-EFAC-48B8-8532-AE9131119CAF}" srcOrd="1" destOrd="0" parTransId="{EF4E2A77-1B43-44CA-AC77-0E4AB2BC7238}" sibTransId="{D59C28D6-1792-4981-A50A-F8F429E408B6}"/>
    <dgm:cxn modelId="{5BCDA0DA-9EF6-4F41-B615-B1E1DEB1A557}" type="presOf" srcId="{5F5D4853-13CE-4A75-BA08-97426749263D}" destId="{6C96D461-5A4A-47EF-8789-1AC7471BD2BF}" srcOrd="0" destOrd="0" presId="urn:microsoft.com/office/officeart/2005/8/layout/arrow5"/>
    <dgm:cxn modelId="{55851484-418E-4D92-8ECF-89F5F80BE96E}" srcId="{5F5D4853-13CE-4A75-BA08-97426749263D}" destId="{AF2F8EA1-7928-4DAB-A64F-C84A1676AE60}" srcOrd="0" destOrd="0" parTransId="{262DBFB2-8BA3-4AE5-98A1-CBC5F075A9F7}" sibTransId="{240D95DC-0A59-4ED2-854E-F210E301DDF9}"/>
    <dgm:cxn modelId="{C56B1E93-47D7-43E7-99A7-F652B6561E6C}" type="presParOf" srcId="{6C96D461-5A4A-47EF-8789-1AC7471BD2BF}" destId="{BE14C91D-571A-4492-9E35-0988F34B37F7}" srcOrd="0" destOrd="0" presId="urn:microsoft.com/office/officeart/2005/8/layout/arrow5"/>
    <dgm:cxn modelId="{A935B3BE-E6D7-4B1B-8FAB-71C0047C9127}" type="presParOf" srcId="{6C96D461-5A4A-47EF-8789-1AC7471BD2BF}" destId="{A30398F3-94D6-4E7F-983A-FAD782C7F1FF}" srcOrd="1" destOrd="0" presId="urn:microsoft.com/office/officeart/2005/8/layout/arrow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4F576-3E13-497A-A13A-BB5A3D52B81C}">
      <dsp:nvSpPr>
        <dsp:cNvPr id="0" name=""/>
        <dsp:cNvSpPr/>
      </dsp:nvSpPr>
      <dsp:spPr>
        <a:xfrm>
          <a:off x="3674314" y="24482"/>
          <a:ext cx="1615859" cy="1615859"/>
        </a:xfrm>
        <a:prstGeom prst="triangle">
          <a:avLst/>
        </a:prstGeom>
        <a:noFill/>
        <a:ln>
          <a:noFill/>
        </a:ln>
        <a:effectLst/>
        <a:sp3d extrusionH="104775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en-AU" sz="1400" b="1" kern="1200" dirty="0"/>
        </a:p>
      </dsp:txBody>
      <dsp:txXfrm>
        <a:off x="4078279" y="832412"/>
        <a:ext cx="807929" cy="807929"/>
      </dsp:txXfrm>
    </dsp:sp>
    <dsp:sp modelId="{43CBE395-04DE-472C-9C53-5F3712E79318}">
      <dsp:nvSpPr>
        <dsp:cNvPr id="0" name=""/>
        <dsp:cNvSpPr/>
      </dsp:nvSpPr>
      <dsp:spPr>
        <a:xfrm>
          <a:off x="2866384" y="1640342"/>
          <a:ext cx="1615859" cy="1615859"/>
        </a:xfrm>
        <a:prstGeom prst="triangle">
          <a:avLst/>
        </a:prstGeom>
        <a:noFill/>
        <a:ln>
          <a:noFill/>
        </a:ln>
        <a:effectLst/>
        <a:sp3d extrusionH="104775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en-AU" sz="1400" b="1" kern="1200" dirty="0">
            <a:solidFill>
              <a:schemeClr val="bg1"/>
            </a:solidFill>
          </a:endParaRPr>
        </a:p>
      </dsp:txBody>
      <dsp:txXfrm>
        <a:off x="3270349" y="2448272"/>
        <a:ext cx="807929" cy="807929"/>
      </dsp:txXfrm>
    </dsp:sp>
    <dsp:sp modelId="{BC33E4BD-6E2D-49AD-91C2-3327B21344AB}">
      <dsp:nvSpPr>
        <dsp:cNvPr id="0" name=""/>
        <dsp:cNvSpPr/>
      </dsp:nvSpPr>
      <dsp:spPr>
        <a:xfrm rot="10800000">
          <a:off x="3674314" y="1640342"/>
          <a:ext cx="1615859" cy="1615859"/>
        </a:xfrm>
        <a:prstGeom prst="triangle">
          <a:avLst/>
        </a:prstGeom>
        <a:noFill/>
        <a:ln>
          <a:noFill/>
        </a:ln>
        <a:effectLst/>
        <a:sp3d extrusionH="104775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endParaRPr lang="en-AU" sz="1100" kern="1200" dirty="0"/>
        </a:p>
      </dsp:txBody>
      <dsp:txXfrm rot="10800000">
        <a:off x="4078279" y="1640342"/>
        <a:ext cx="807929" cy="807929"/>
      </dsp:txXfrm>
    </dsp:sp>
    <dsp:sp modelId="{AA2112CD-7153-4A6A-BFD8-73A95A4DED8A}">
      <dsp:nvSpPr>
        <dsp:cNvPr id="0" name=""/>
        <dsp:cNvSpPr/>
      </dsp:nvSpPr>
      <dsp:spPr>
        <a:xfrm>
          <a:off x="4482244" y="1640342"/>
          <a:ext cx="1615859" cy="1615859"/>
        </a:xfrm>
        <a:prstGeom prst="triangle">
          <a:avLst/>
        </a:prstGeom>
        <a:noFill/>
        <a:ln>
          <a:noFill/>
        </a:ln>
        <a:effectLst/>
        <a:sp3d extrusionH="104775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endParaRPr lang="en-AU" sz="1100" kern="1200" dirty="0"/>
        </a:p>
      </dsp:txBody>
      <dsp:txXfrm>
        <a:off x="4886209" y="2448272"/>
        <a:ext cx="807929" cy="807929"/>
      </dsp:txXfrm>
    </dsp:sp>
    <dsp:sp modelId="{6B6C698E-D631-4CFE-85E0-9D2BAA8B12FA}">
      <dsp:nvSpPr>
        <dsp:cNvPr id="0" name=""/>
        <dsp:cNvSpPr/>
      </dsp:nvSpPr>
      <dsp:spPr>
        <a:xfrm>
          <a:off x="2058454" y="3256201"/>
          <a:ext cx="1615859" cy="1615859"/>
        </a:xfrm>
        <a:prstGeom prst="triangle">
          <a:avLst/>
        </a:prstGeom>
        <a:solidFill>
          <a:schemeClr val="accent3">
            <a:lumMod val="20000"/>
            <a:lumOff val="80000"/>
          </a:schemeClr>
        </a:solidFill>
        <a:ln>
          <a:noFill/>
        </a:ln>
        <a:effectLst/>
        <a:sp3d extrusionH="104775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en-AU" sz="1400" b="1" kern="1200" dirty="0">
            <a:solidFill>
              <a:schemeClr val="accent3">
                <a:lumMod val="50000"/>
              </a:schemeClr>
            </a:solidFill>
          </a:endParaRPr>
        </a:p>
      </dsp:txBody>
      <dsp:txXfrm>
        <a:off x="2462419" y="4064131"/>
        <a:ext cx="807929" cy="807929"/>
      </dsp:txXfrm>
    </dsp:sp>
    <dsp:sp modelId="{E284D50A-EEAA-42A0-858F-517F6B07B3E9}">
      <dsp:nvSpPr>
        <dsp:cNvPr id="0" name=""/>
        <dsp:cNvSpPr/>
      </dsp:nvSpPr>
      <dsp:spPr>
        <a:xfrm rot="10800000">
          <a:off x="2866384" y="3256201"/>
          <a:ext cx="1615859" cy="1615859"/>
        </a:xfrm>
        <a:prstGeom prst="triangle">
          <a:avLst/>
        </a:prstGeom>
        <a:solidFill>
          <a:schemeClr val="accent3">
            <a:lumMod val="20000"/>
            <a:lumOff val="80000"/>
          </a:schemeClr>
        </a:solidFill>
        <a:ln>
          <a:noFill/>
        </a:ln>
        <a:effectLst/>
        <a:sp3d extrusionH="104775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en-AU" sz="1400" b="1" kern="1200" dirty="0">
            <a:solidFill>
              <a:schemeClr val="accent3">
                <a:lumMod val="50000"/>
              </a:schemeClr>
            </a:solidFill>
          </a:endParaRPr>
        </a:p>
      </dsp:txBody>
      <dsp:txXfrm rot="10800000">
        <a:off x="3270349" y="3256201"/>
        <a:ext cx="807929" cy="807929"/>
      </dsp:txXfrm>
    </dsp:sp>
    <dsp:sp modelId="{7ECD91D2-08F2-4887-BB32-D449BA46AACF}">
      <dsp:nvSpPr>
        <dsp:cNvPr id="0" name=""/>
        <dsp:cNvSpPr/>
      </dsp:nvSpPr>
      <dsp:spPr>
        <a:xfrm>
          <a:off x="3674314" y="3256201"/>
          <a:ext cx="1615859" cy="1615859"/>
        </a:xfrm>
        <a:prstGeom prst="triangle">
          <a:avLst/>
        </a:prstGeom>
        <a:solidFill>
          <a:schemeClr val="accent5">
            <a:lumMod val="60000"/>
            <a:lumOff val="40000"/>
          </a:schemeClr>
        </a:solidFill>
        <a:ln>
          <a:noFill/>
        </a:ln>
        <a:effectLst/>
        <a:sp3d extrusionH="104775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en-AU" sz="1400" b="1" kern="1200" dirty="0">
            <a:solidFill>
              <a:schemeClr val="accent3">
                <a:lumMod val="50000"/>
              </a:schemeClr>
            </a:solidFill>
          </a:endParaRPr>
        </a:p>
      </dsp:txBody>
      <dsp:txXfrm>
        <a:off x="4078279" y="4064131"/>
        <a:ext cx="807929" cy="807929"/>
      </dsp:txXfrm>
    </dsp:sp>
    <dsp:sp modelId="{E986598F-521D-4DDE-8208-46CEBA1AF92D}">
      <dsp:nvSpPr>
        <dsp:cNvPr id="0" name=""/>
        <dsp:cNvSpPr/>
      </dsp:nvSpPr>
      <dsp:spPr>
        <a:xfrm rot="10800000">
          <a:off x="4482244" y="3256201"/>
          <a:ext cx="1615859" cy="1615859"/>
        </a:xfrm>
        <a:prstGeom prst="triangle">
          <a:avLst/>
        </a:prstGeom>
        <a:solidFill>
          <a:schemeClr val="accent3">
            <a:lumMod val="20000"/>
            <a:lumOff val="80000"/>
          </a:schemeClr>
        </a:solidFill>
        <a:ln>
          <a:noFill/>
        </a:ln>
        <a:effectLst/>
        <a:sp3d extrusionH="104775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endParaRPr lang="en-AU" sz="1100" kern="1200" dirty="0"/>
        </a:p>
      </dsp:txBody>
      <dsp:txXfrm rot="10800000">
        <a:off x="4886209" y="3256201"/>
        <a:ext cx="807929" cy="807929"/>
      </dsp:txXfrm>
    </dsp:sp>
    <dsp:sp modelId="{B296E51F-C11C-4D32-B33A-17F659FECD7D}">
      <dsp:nvSpPr>
        <dsp:cNvPr id="0" name=""/>
        <dsp:cNvSpPr/>
      </dsp:nvSpPr>
      <dsp:spPr>
        <a:xfrm>
          <a:off x="5290173" y="3256201"/>
          <a:ext cx="1615859" cy="1615859"/>
        </a:xfrm>
        <a:prstGeom prst="triangle">
          <a:avLst/>
        </a:prstGeom>
        <a:solidFill>
          <a:schemeClr val="accent3">
            <a:lumMod val="20000"/>
            <a:lumOff val="80000"/>
          </a:schemeClr>
        </a:solidFill>
        <a:ln>
          <a:noFill/>
        </a:ln>
        <a:effectLst/>
        <a:sp3d extrusionH="104775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endParaRPr lang="en-AU" sz="1100" kern="1200" dirty="0"/>
        </a:p>
      </dsp:txBody>
      <dsp:txXfrm>
        <a:off x="5694138" y="4064131"/>
        <a:ext cx="807929" cy="80792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14C91D-571A-4492-9E35-0988F34B37F7}">
      <dsp:nvSpPr>
        <dsp:cNvPr id="0" name=""/>
        <dsp:cNvSpPr/>
      </dsp:nvSpPr>
      <dsp:spPr>
        <a:xfrm rot="16200000">
          <a:off x="175" y="78917"/>
          <a:ext cx="920572" cy="920572"/>
        </a:xfrm>
        <a:prstGeom prst="downArrow">
          <a:avLst>
            <a:gd name="adj1" fmla="val 50000"/>
            <a:gd name="adj2" fmla="val 35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endParaRPr lang="en-US" sz="1700" kern="1200"/>
        </a:p>
      </dsp:txBody>
      <dsp:txXfrm rot="5400000">
        <a:off x="175" y="309060"/>
        <a:ext cx="759472" cy="460286"/>
      </dsp:txXfrm>
    </dsp:sp>
    <dsp:sp modelId="{A30398F3-94D6-4E7F-983A-FAD782C7F1FF}">
      <dsp:nvSpPr>
        <dsp:cNvPr id="0" name=""/>
        <dsp:cNvSpPr/>
      </dsp:nvSpPr>
      <dsp:spPr>
        <a:xfrm rot="5400000">
          <a:off x="970432" y="78917"/>
          <a:ext cx="920572" cy="920572"/>
        </a:xfrm>
        <a:prstGeom prst="downArrow">
          <a:avLst>
            <a:gd name="adj1" fmla="val 50000"/>
            <a:gd name="adj2" fmla="val 35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endParaRPr lang="en-US" sz="1700" kern="1200"/>
        </a:p>
      </dsp:txBody>
      <dsp:txXfrm rot="-5400000">
        <a:off x="1131532" y="309060"/>
        <a:ext cx="759472" cy="46028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14C91D-571A-4492-9E35-0988F34B37F7}">
      <dsp:nvSpPr>
        <dsp:cNvPr id="0" name=""/>
        <dsp:cNvSpPr/>
      </dsp:nvSpPr>
      <dsp:spPr>
        <a:xfrm rot="16200000">
          <a:off x="175" y="78917"/>
          <a:ext cx="920572" cy="920572"/>
        </a:xfrm>
        <a:prstGeom prst="downArrow">
          <a:avLst>
            <a:gd name="adj1" fmla="val 50000"/>
            <a:gd name="adj2" fmla="val 35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endParaRPr lang="en-US" sz="1700" kern="1200"/>
        </a:p>
      </dsp:txBody>
      <dsp:txXfrm rot="5400000">
        <a:off x="175" y="309060"/>
        <a:ext cx="759472" cy="460286"/>
      </dsp:txXfrm>
    </dsp:sp>
    <dsp:sp modelId="{A30398F3-94D6-4E7F-983A-FAD782C7F1FF}">
      <dsp:nvSpPr>
        <dsp:cNvPr id="0" name=""/>
        <dsp:cNvSpPr/>
      </dsp:nvSpPr>
      <dsp:spPr>
        <a:xfrm rot="5400000">
          <a:off x="970432" y="78917"/>
          <a:ext cx="920572" cy="920572"/>
        </a:xfrm>
        <a:prstGeom prst="downArrow">
          <a:avLst>
            <a:gd name="adj1" fmla="val 50000"/>
            <a:gd name="adj2" fmla="val 35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endParaRPr lang="en-US" sz="1700" kern="1200"/>
        </a:p>
      </dsp:txBody>
      <dsp:txXfrm rot="-5400000">
        <a:off x="1131532" y="309060"/>
        <a:ext cx="759472" cy="460286"/>
      </dsp:txXfrm>
    </dsp:sp>
  </dsp:spTree>
</dsp:drawing>
</file>

<file path=ppt/diagrams/layout1.xml><?xml version="1.0" encoding="utf-8"?>
<dgm:layoutDef xmlns:dgm="http://schemas.openxmlformats.org/drawingml/2006/diagram" xmlns:a="http://schemas.openxmlformats.org/drawingml/2006/main" uniqueId="urn:microsoft.com/office/officeart/2005/8/layout/pyramid4">
  <dgm:title val=""/>
  <dgm:desc val=""/>
  <dgm:catLst>
    <dgm:cat type="pyramid" pri="4000"/>
    <dgm:cat type="relationship" pri="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useDef="1">
    <dgm:dataModel>
      <dgm:ptLst/>
      <dgm:bg/>
      <dgm:whole/>
    </dgm:dataModel>
  </dgm:styleData>
  <dgm:clrData useDef="1">
    <dgm:dataModel>
      <dgm:ptLst/>
      <dgm:bg/>
      <dgm:whole/>
    </dgm:dataModel>
  </dgm:clrData>
  <dgm:layoutNode name="compositeShape">
    <dgm:varLst>
      <dgm:chMax val="9"/>
      <dgm:dir/>
      <dgm:resizeHandles val="exact"/>
    </dgm:varLst>
    <dgm:alg type="composite">
      <dgm:param type="ar" val="1"/>
    </dgm:alg>
    <dgm:shape xmlns:r="http://schemas.openxmlformats.org/officeDocument/2006/relationships" r:blip="">
      <dgm:adjLst/>
    </dgm:shape>
    <dgm:presOf/>
    <dgm:choose name="Name0">
      <dgm:if name="Name1" axis="ch" ptType="node" func="cnt" op="lte" val="4">
        <dgm:choose name="Name2">
          <dgm:if name="Name3" axis="ch" ptType="node" func="cnt" op="equ" val="1">
            <dgm:constrLst>
              <dgm:constr type="primFontSz" for="ch" ptType="node" op="equ" val="65"/>
              <dgm:constr type="t" for="ch" forName="triangle1"/>
              <dgm:constr type="l" for="ch" forName="triangle1"/>
              <dgm:constr type="h" for="ch" forName="triangle1" refType="h"/>
              <dgm:constr type="w" for="ch" forName="triangle1" refType="h"/>
            </dgm:constrLst>
          </dgm:if>
          <dgm:else name="Name4">
            <dgm:constrLst>
              <dgm:constr type="primFontSz" for="ch" ptType="node" op="equ" val="65"/>
              <dgm:constr type="t" for="ch" forName="triangle1"/>
              <dgm:constr type="l" for="ch" forName="triangle1" refType="h" fact="0.25"/>
              <dgm:constr type="h" for="ch" forName="triangle1" refType="h" fact="0.5"/>
              <dgm:constr type="w" for="ch" forName="triangle1" refType="h" fact="0.5"/>
              <dgm:constr type="t" for="ch" forName="triangle2" refType="h" fact="0.5"/>
              <dgm:constr type="l" for="ch" forName="triangle2"/>
              <dgm:constr type="h" for="ch" forName="triangle2" refType="h" fact="0.5"/>
              <dgm:constr type="w" for="ch" forName="triangle2" refType="h" fact="0.5"/>
              <dgm:constr type="t" for="ch" forName="triangle3" refType="h" fact="0.5"/>
              <dgm:constr type="l" for="ch" forName="triangle3" refType="h" fact="0.25"/>
              <dgm:constr type="h" for="ch" forName="triangle3" refType="h" fact="0.5"/>
              <dgm:constr type="w" for="ch" forName="triangle3" refType="h" fact="0.5"/>
              <dgm:constr type="t" for="ch" forName="triangle4" refType="h" fact="0.5"/>
              <dgm:constr type="l" for="ch" forName="triangle4" refType="h" fact="0.5"/>
              <dgm:constr type="h" for="ch" forName="triangle4" refType="h" fact="0.5"/>
              <dgm:constr type="w" for="ch" forName="triangle4" refType="h" fact="0.5"/>
            </dgm:constrLst>
          </dgm:else>
        </dgm:choose>
      </dgm:if>
      <dgm:else name="Name5">
        <dgm:constrLst>
          <dgm:constr type="primFontSz" for="ch" ptType="node" op="equ" val="65"/>
          <dgm:constr type="t" for="ch" forName="triangle1"/>
          <dgm:constr type="l" for="ch" forName="triangle1" refType="h" fact="0.33"/>
          <dgm:constr type="h" for="ch" forName="triangle1" refType="h" fact="0.33"/>
          <dgm:constr type="w" for="ch" forName="triangle1" refType="h" fact="0.33"/>
          <dgm:constr type="t" for="ch" forName="triangle2" refType="h" fact="0.33"/>
          <dgm:constr type="l" for="ch" forName="triangle2" refType="h" fact="0.165"/>
          <dgm:constr type="h" for="ch" forName="triangle2" refType="h" fact="0.33"/>
          <dgm:constr type="w" for="ch" forName="triangle2" refType="h" fact="0.33"/>
          <dgm:constr type="t" for="ch" forName="triangle3" refType="h" fact="0.33"/>
          <dgm:constr type="l" for="ch" forName="triangle3" refType="h" fact="0.33"/>
          <dgm:constr type="h" for="ch" forName="triangle3" refType="h" fact="0.33"/>
          <dgm:constr type="w" for="ch" forName="triangle3" refType="h" fact="0.33"/>
          <dgm:constr type="t" for="ch" forName="triangle4" refType="h" fact="0.33"/>
          <dgm:constr type="l" for="ch" forName="triangle4" refType="h" fact="0.495"/>
          <dgm:constr type="h" for="ch" forName="triangle4" refType="h" fact="0.33"/>
          <dgm:constr type="w" for="ch" forName="triangle4" refType="h" fact="0.33"/>
          <dgm:constr type="t" for="ch" forName="triangle5" refType="h" fact="0.66"/>
          <dgm:constr type="l" for="ch" forName="triangle5"/>
          <dgm:constr type="h" for="ch" forName="triangle5" refType="h" fact="0.33"/>
          <dgm:constr type="w" for="ch" forName="triangle5" refType="h" fact="0.33"/>
          <dgm:constr type="t" for="ch" forName="triangle6" refType="h" fact="0.66"/>
          <dgm:constr type="l" for="ch" forName="triangle6" refType="h" fact="0.165"/>
          <dgm:constr type="h" for="ch" forName="triangle6" refType="h" fact="0.33"/>
          <dgm:constr type="w" for="ch" forName="triangle6" refType="h" fact="0.33"/>
          <dgm:constr type="t" for="ch" forName="triangle7" refType="h" fact="0.66"/>
          <dgm:constr type="l" for="ch" forName="triangle7" refType="h" fact="0.33"/>
          <dgm:constr type="h" for="ch" forName="triangle7" refType="h" fact="0.33"/>
          <dgm:constr type="w" for="ch" forName="triangle7" refType="h" fact="0.33"/>
          <dgm:constr type="t" for="ch" forName="triangle8" refType="h" fact="0.66"/>
          <dgm:constr type="l" for="ch" forName="triangle8" refType="h" fact="0.495"/>
          <dgm:constr type="h" for="ch" forName="triangle8" refType="h" fact="0.33"/>
          <dgm:constr type="w" for="ch" forName="triangle8" refType="h" fact="0.33"/>
          <dgm:constr type="t" for="ch" forName="triangle9" refType="h" fact="0.66"/>
          <dgm:constr type="l" for="ch" forName="triangle9" refType="h" fact="0.66"/>
          <dgm:constr type="h" for="ch" forName="triangle9" refType="h" fact="0.33"/>
          <dgm:constr type="w" for="ch" forName="triangle9" refType="h" fact="0.33"/>
        </dgm:constrLst>
      </dgm:else>
    </dgm:choose>
    <dgm:ruleLst/>
    <dgm:choose name="Name6">
      <dgm:if name="Name7" axis="ch" ptType="node" func="cnt" op="gte" val="1">
        <dgm:layoutNode name="triangle1" styleLbl="node1">
          <dgm:varLst>
            <dgm:bulletEnabled val="1"/>
          </dgm:varLst>
          <dgm:alg type="tx">
            <dgm:param type="txAnchorVertCh" val="mid"/>
          </dgm:alg>
          <dgm:shape xmlns:r="http://schemas.openxmlformats.org/officeDocument/2006/relationships" type="triangle"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8"/>
    </dgm:choose>
    <dgm:choose name="Name9">
      <dgm:if name="Name10" axis="ch" ptType="node" func="cnt" op="gte" val="2">
        <dgm:layoutNode name="triangle2" styleLbl="node1">
          <dgm:varLst>
            <dgm:bulletEnabled val="1"/>
          </dgm:varLst>
          <dgm:alg type="tx">
            <dgm:param type="txAnchorVertCh" val="mid"/>
          </dgm:alg>
          <dgm:shape xmlns:r="http://schemas.openxmlformats.org/officeDocument/2006/relationships" type="triangle" r:blip="">
            <dgm:adjLst/>
          </dgm:shape>
          <dgm:choose name="Name11">
            <dgm:if name="Name12" func="var" arg="dir" op="equ" val="norm">
              <dgm:presOf axis="ch desOrSelf" ptType="node node" st="2 1" cnt="1 0"/>
            </dgm:if>
            <dgm:else name="Name13">
              <dgm:presOf axis="ch desOrSelf" ptType="node node" st="4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3" styleLbl="node1">
          <dgm:varLst>
            <dgm:bulletEnabled val="1"/>
          </dgm:varLst>
          <dgm:alg type="tx">
            <dgm:param type="txAnchorVertCh" val="mid"/>
          </dgm:alg>
          <dgm:shape xmlns:r="http://schemas.openxmlformats.org/officeDocument/2006/relationships" rot="180" type="triangle"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4" styleLbl="node1">
          <dgm:varLst>
            <dgm:bulletEnabled val="1"/>
          </dgm:varLst>
          <dgm:alg type="tx">
            <dgm:param type="txAnchorVertCh" val="mid"/>
          </dgm:alg>
          <dgm:shape xmlns:r="http://schemas.openxmlformats.org/officeDocument/2006/relationships" type="triangle" r:blip="">
            <dgm:adjLst/>
          </dgm:shape>
          <dgm:choose name="Name14">
            <dgm:if name="Name15" func="var" arg="dir" op="equ" val="norm">
              <dgm:presOf axis="ch desOrSelf" ptType="node node" st="4 1" cnt="1 0"/>
            </dgm:if>
            <dgm:else name="Name16">
              <dgm:presOf axis="ch desOrSelf" ptType="node node" st="2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7"/>
    </dgm:choose>
    <dgm:choose name="Name18">
      <dgm:if name="Name19" axis="ch" ptType="node" func="cnt" op="gte" val="5">
        <dgm:layoutNode name="triangle5" styleLbl="node1">
          <dgm:varLst>
            <dgm:bulletEnabled val="1"/>
          </dgm:varLst>
          <dgm:alg type="tx">
            <dgm:param type="txAnchorVertCh" val="mid"/>
          </dgm:alg>
          <dgm:shape xmlns:r="http://schemas.openxmlformats.org/officeDocument/2006/relationships" type="triangle" r:blip="">
            <dgm:adjLst/>
          </dgm:shape>
          <dgm:choose name="Name20">
            <dgm:if name="Name21" func="var" arg="dir" op="equ" val="norm">
              <dgm:presOf axis="ch desOrSelf" ptType="node node" st="5 1" cnt="1 0"/>
            </dgm:if>
            <dgm:else name="Name22">
              <dgm:presOf axis="ch desOrSelf" ptType="node node" st="9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6" styleLbl="node1">
          <dgm:varLst>
            <dgm:bulletEnabled val="1"/>
          </dgm:varLst>
          <dgm:alg type="tx">
            <dgm:param type="txAnchorVertCh" val="mid"/>
          </dgm:alg>
          <dgm:shape xmlns:r="http://schemas.openxmlformats.org/officeDocument/2006/relationships" rot="180" type="triangle" r:blip="">
            <dgm:adjLst/>
          </dgm:shape>
          <dgm:choose name="Name23">
            <dgm:if name="Name24" func="var" arg="dir" op="equ" val="norm">
              <dgm:presOf axis="ch desOrSelf" ptType="node node" st="6 1" cnt="1 0"/>
            </dgm:if>
            <dgm:else name="Name25">
              <dgm:presOf axis="ch desOrSelf" ptType="node node" st="8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7" styleLbl="node1">
          <dgm:varLst>
            <dgm:bulletEnabled val="1"/>
          </dgm:varLst>
          <dgm:alg type="tx">
            <dgm:param type="txAnchorVertCh" val="mid"/>
          </dgm:alg>
          <dgm:shape xmlns:r="http://schemas.openxmlformats.org/officeDocument/2006/relationships" type="triangle" r:blip="">
            <dgm:adjLst/>
          </dgm:shape>
          <dgm:presOf axis="ch desOrSelf" ptType="node node" st="7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8" styleLbl="node1">
          <dgm:varLst>
            <dgm:bulletEnabled val="1"/>
          </dgm:varLst>
          <dgm:alg type="tx">
            <dgm:param type="txAnchorVertCh" val="mid"/>
          </dgm:alg>
          <dgm:shape xmlns:r="http://schemas.openxmlformats.org/officeDocument/2006/relationships" rot="180" type="triangle" r:blip="">
            <dgm:adjLst/>
          </dgm:shape>
          <dgm:choose name="Name26">
            <dgm:if name="Name27" func="var" arg="dir" op="equ" val="norm">
              <dgm:presOf axis="ch desOrSelf" ptType="node node" st="8 1" cnt="1 0"/>
            </dgm:if>
            <dgm:else name="Name28">
              <dgm:presOf axis="ch desOrSelf" ptType="node node" st="6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9" styleLbl="node1">
          <dgm:varLst>
            <dgm:bulletEnabled val="1"/>
          </dgm:varLst>
          <dgm:alg type="tx">
            <dgm:param type="txAnchorVertCh" val="mid"/>
          </dgm:alg>
          <dgm:shape xmlns:r="http://schemas.openxmlformats.org/officeDocument/2006/relationships" type="triangle" r:blip="">
            <dgm:adjLst/>
          </dgm:shape>
          <dgm:choose name="Name29">
            <dgm:if name="Name30" func="var" arg="dir" op="equ" val="norm">
              <dgm:presOf axis="ch desOrSelf" ptType="node node" st="9 1" cnt="1 0"/>
            </dgm:if>
            <dgm:else name="Name31">
              <dgm:presOf axis="ch desOrSelf" ptType="node node" st="5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2"/>
    </dgm:choose>
  </dgm:layoutNode>
</dgm:layoutDef>
</file>

<file path=ppt/diagrams/layout2.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CA7D20-4FE2-407F-996A-9352E657130D}" type="datetimeFigureOut">
              <a:rPr lang="en-US" smtClean="0"/>
              <a:t>3/2/2017</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988C1B-63EF-4118-A283-8152E97C0414}" type="slidenum">
              <a:rPr lang="en-US" smtClean="0"/>
              <a:t>‹#›</a:t>
            </a:fld>
            <a:endParaRPr lang="en-US"/>
          </a:p>
        </p:txBody>
      </p:sp>
    </p:spTree>
    <p:extLst>
      <p:ext uri="{BB962C8B-B14F-4D97-AF65-F5344CB8AC3E}">
        <p14:creationId xmlns:p14="http://schemas.microsoft.com/office/powerpoint/2010/main" val="1836633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ight after introduction,</a:t>
            </a:r>
            <a:r>
              <a:rPr lang="en-US" baseline="0" dirty="0" smtClean="0"/>
              <a:t> ask the audience the following questions:</a:t>
            </a:r>
          </a:p>
          <a:p>
            <a:r>
              <a:rPr lang="en-US" dirty="0" smtClean="0"/>
              <a:t>How many of</a:t>
            </a:r>
            <a:r>
              <a:rPr lang="en-US" baseline="0" dirty="0" smtClean="0"/>
              <a:t> you when you were young thinking about your future career knew you wanted to be a purchasing analysts?</a:t>
            </a:r>
          </a:p>
          <a:p>
            <a:r>
              <a:rPr lang="en-US" baseline="0" dirty="0" smtClean="0"/>
              <a:t>How many of you have a degree in procurement?</a:t>
            </a:r>
          </a:p>
          <a:p>
            <a:r>
              <a:rPr lang="en-US" baseline="0" dirty="0" smtClean="0"/>
              <a:t>How many of you now think procurement is a good career choice?</a:t>
            </a:r>
          </a:p>
          <a:p>
            <a:r>
              <a:rPr lang="en-US" baseline="0" dirty="0" smtClean="0"/>
              <a:t>How many of you think you are a professional?</a:t>
            </a:r>
          </a:p>
          <a:p>
            <a:r>
              <a:rPr lang="en-US" baseline="0" dirty="0" smtClean="0"/>
              <a:t>How many of you think you are paid enough, receive the respect you deserve for doing your job properly, and are praised by others?</a:t>
            </a:r>
          </a:p>
          <a:p>
            <a:r>
              <a:rPr lang="en-US" baseline="0" dirty="0" smtClean="0"/>
              <a:t>Why is that the case?</a:t>
            </a:r>
            <a:endParaRPr lang="en-US" dirty="0"/>
          </a:p>
        </p:txBody>
      </p:sp>
      <p:sp>
        <p:nvSpPr>
          <p:cNvPr id="4" name="Slide Number Placeholder 3"/>
          <p:cNvSpPr>
            <a:spLocks noGrp="1"/>
          </p:cNvSpPr>
          <p:nvPr>
            <p:ph type="sldNum" sz="quarter" idx="10"/>
          </p:nvPr>
        </p:nvSpPr>
        <p:spPr/>
        <p:txBody>
          <a:bodyPr/>
          <a:lstStyle/>
          <a:p>
            <a:fld id="{71988C1B-63EF-4118-A283-8152E97C0414}" type="slidenum">
              <a:rPr lang="en-US" smtClean="0"/>
              <a:t>1</a:t>
            </a:fld>
            <a:endParaRPr lang="en-US"/>
          </a:p>
        </p:txBody>
      </p:sp>
    </p:spTree>
    <p:extLst>
      <p:ext uri="{BB962C8B-B14F-4D97-AF65-F5344CB8AC3E}">
        <p14:creationId xmlns:p14="http://schemas.microsoft.com/office/powerpoint/2010/main" val="42110334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lnSpcReduction="10000"/>
          </a:bodyPr>
          <a:lstStyle/>
          <a:p>
            <a:pPr>
              <a:defRPr/>
            </a:pPr>
            <a:r>
              <a:rPr lang="en-AU" b="1" i="1" dirty="0" smtClean="0"/>
              <a:t>Brief overview – do not spend too much time but get across broad capability required </a:t>
            </a:r>
          </a:p>
          <a:p>
            <a:pPr>
              <a:defRPr/>
            </a:pPr>
            <a:r>
              <a:rPr lang="en-AU" dirty="0" smtClean="0"/>
              <a:t>Our experience tells us that for procurement to be successful  it not only needs to be aligned to government business objectives but also  supported by :</a:t>
            </a:r>
          </a:p>
          <a:p>
            <a:pPr>
              <a:defRPr/>
            </a:pPr>
            <a:endParaRPr lang="en-AU" sz="400" dirty="0"/>
          </a:p>
          <a:p>
            <a:pPr marL="171416" lvl="1" indent="-171416">
              <a:buFontTx/>
              <a:buChar char="•"/>
              <a:defRPr/>
            </a:pPr>
            <a:r>
              <a:rPr lang="en-AU" dirty="0" smtClean="0"/>
              <a:t>Competent procurement professionals providing clear leadership for the procurement process</a:t>
            </a:r>
          </a:p>
          <a:p>
            <a:pPr marL="171416" lvl="1" indent="-171416">
              <a:buFontTx/>
              <a:buChar char="•"/>
              <a:defRPr/>
            </a:pPr>
            <a:r>
              <a:rPr lang="en-AU" dirty="0" smtClean="0"/>
              <a:t>Thorough understanding of the supply markets we use and the suppliers we buy from</a:t>
            </a:r>
          </a:p>
          <a:p>
            <a:pPr marL="171416" lvl="1" indent="-171416">
              <a:buFontTx/>
              <a:buChar char="•"/>
              <a:defRPr/>
            </a:pPr>
            <a:r>
              <a:rPr lang="en-AU" dirty="0" smtClean="0"/>
              <a:t> X-functional team working  that  enable  structured decision-making</a:t>
            </a:r>
          </a:p>
          <a:p>
            <a:pPr marL="171416" lvl="1" indent="-171416">
              <a:buFontTx/>
              <a:buChar char="•"/>
              <a:defRPr/>
            </a:pPr>
            <a:r>
              <a:rPr lang="en-AU" dirty="0" smtClean="0"/>
              <a:t>Sourcing strategies designed  to achieve  sustainable value for money outcomes</a:t>
            </a:r>
          </a:p>
          <a:p>
            <a:pPr>
              <a:defRPr/>
            </a:pPr>
            <a:endParaRPr lang="en-AU" dirty="0" smtClean="0"/>
          </a:p>
          <a:p>
            <a:pPr>
              <a:defRPr/>
            </a:pPr>
            <a:r>
              <a:rPr lang="en-AU" dirty="0" smtClean="0"/>
              <a:t>The model shown here has been widely used to illustrate the </a:t>
            </a:r>
            <a:r>
              <a:rPr lang="en-AU" b="1" dirty="0" smtClean="0"/>
              <a:t>8 building blocks </a:t>
            </a:r>
            <a:r>
              <a:rPr lang="en-AU" dirty="0" smtClean="0"/>
              <a:t>or dimensions needed to develop a successful Procurement process</a:t>
            </a:r>
          </a:p>
          <a:p>
            <a:pPr>
              <a:defRPr/>
            </a:pPr>
            <a:r>
              <a:rPr lang="en-AU" dirty="0" smtClean="0"/>
              <a:t>At the base of the pyramid there are five “core” or </a:t>
            </a:r>
            <a:r>
              <a:rPr lang="en-AU" b="1" dirty="0" smtClean="0"/>
              <a:t>foundation elements </a:t>
            </a:r>
            <a:r>
              <a:rPr lang="en-AU" dirty="0" smtClean="0"/>
              <a:t>that need to be in place to support and implement individual sourcing strategies. This is followed by 3 elements that focus on the </a:t>
            </a:r>
            <a:r>
              <a:rPr lang="en-AU" b="1" dirty="0" smtClean="0"/>
              <a:t>Strategies</a:t>
            </a:r>
            <a:r>
              <a:rPr lang="en-AU" dirty="0" smtClean="0"/>
              <a:t> needed to deliver results </a:t>
            </a:r>
          </a:p>
          <a:p>
            <a:pPr>
              <a:defRPr/>
            </a:pPr>
            <a:r>
              <a:rPr lang="en-AU" dirty="0" smtClean="0"/>
              <a:t>With our foundation elements are in place then we have the infrastructure required to not drive change and work collaboratively with internal stakeholders to put in place sourcing strategies that will help to contain cots, reduce supply side risks and improve business performance </a:t>
            </a:r>
          </a:p>
        </p:txBody>
      </p:sp>
      <p:sp>
        <p:nvSpPr>
          <p:cNvPr id="102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63600">
              <a:spcBef>
                <a:spcPct val="30000"/>
              </a:spcBef>
              <a:defRPr sz="1200">
                <a:solidFill>
                  <a:schemeClr val="tx1"/>
                </a:solidFill>
                <a:latin typeface="Calibri" panose="020F0502020204030204" pitchFamily="34" charset="0"/>
              </a:defRPr>
            </a:lvl1pPr>
            <a:lvl2pPr marL="715963" indent="-274638" defTabSz="863600">
              <a:spcBef>
                <a:spcPct val="30000"/>
              </a:spcBef>
              <a:defRPr sz="1200">
                <a:solidFill>
                  <a:schemeClr val="tx1"/>
                </a:solidFill>
                <a:latin typeface="Calibri" panose="020F0502020204030204" pitchFamily="34" charset="0"/>
              </a:defRPr>
            </a:lvl2pPr>
            <a:lvl3pPr marL="1101725" indent="-219075" defTabSz="863600">
              <a:spcBef>
                <a:spcPct val="30000"/>
              </a:spcBef>
              <a:defRPr sz="1200">
                <a:solidFill>
                  <a:schemeClr val="tx1"/>
                </a:solidFill>
                <a:latin typeface="Calibri" panose="020F0502020204030204" pitchFamily="34" charset="0"/>
              </a:defRPr>
            </a:lvl3pPr>
            <a:lvl4pPr marL="1541463" indent="-219075" defTabSz="863600">
              <a:spcBef>
                <a:spcPct val="30000"/>
              </a:spcBef>
              <a:defRPr sz="1200">
                <a:solidFill>
                  <a:schemeClr val="tx1"/>
                </a:solidFill>
                <a:latin typeface="Calibri" panose="020F0502020204030204" pitchFamily="34" charset="0"/>
              </a:defRPr>
            </a:lvl4pPr>
            <a:lvl5pPr marL="1982788" indent="-219075" defTabSz="863600">
              <a:spcBef>
                <a:spcPct val="30000"/>
              </a:spcBef>
              <a:defRPr sz="1200">
                <a:solidFill>
                  <a:schemeClr val="tx1"/>
                </a:solidFill>
                <a:latin typeface="Calibri" panose="020F0502020204030204" pitchFamily="34" charset="0"/>
              </a:defRPr>
            </a:lvl5pPr>
            <a:lvl6pPr marL="2439988" indent="-219075" defTabSz="863600" eaLnBrk="0" fontAlgn="base" hangingPunct="0">
              <a:spcBef>
                <a:spcPct val="30000"/>
              </a:spcBef>
              <a:spcAft>
                <a:spcPct val="0"/>
              </a:spcAft>
              <a:defRPr sz="1200">
                <a:solidFill>
                  <a:schemeClr val="tx1"/>
                </a:solidFill>
                <a:latin typeface="Calibri" panose="020F0502020204030204" pitchFamily="34" charset="0"/>
              </a:defRPr>
            </a:lvl6pPr>
            <a:lvl7pPr marL="2897188" indent="-219075" defTabSz="863600" eaLnBrk="0" fontAlgn="base" hangingPunct="0">
              <a:spcBef>
                <a:spcPct val="30000"/>
              </a:spcBef>
              <a:spcAft>
                <a:spcPct val="0"/>
              </a:spcAft>
              <a:defRPr sz="1200">
                <a:solidFill>
                  <a:schemeClr val="tx1"/>
                </a:solidFill>
                <a:latin typeface="Calibri" panose="020F0502020204030204" pitchFamily="34" charset="0"/>
              </a:defRPr>
            </a:lvl7pPr>
            <a:lvl8pPr marL="3354388" indent="-219075" defTabSz="863600" eaLnBrk="0" fontAlgn="base" hangingPunct="0">
              <a:spcBef>
                <a:spcPct val="30000"/>
              </a:spcBef>
              <a:spcAft>
                <a:spcPct val="0"/>
              </a:spcAft>
              <a:defRPr sz="1200">
                <a:solidFill>
                  <a:schemeClr val="tx1"/>
                </a:solidFill>
                <a:latin typeface="Calibri" panose="020F0502020204030204" pitchFamily="34" charset="0"/>
              </a:defRPr>
            </a:lvl8pPr>
            <a:lvl9pPr marL="3811588" indent="-219075" defTabSz="863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1C90C244-6C3A-422A-A68E-FA6C5BD922DD}" type="slidenum">
              <a:rPr lang="en-AU" smtClean="0"/>
              <a:pPr>
                <a:spcBef>
                  <a:spcPct val="0"/>
                </a:spcBef>
              </a:pPr>
              <a:t>6</a:t>
            </a:fld>
            <a:endParaRPr lang="en-AU" smtClean="0"/>
          </a:p>
        </p:txBody>
      </p:sp>
    </p:spTree>
    <p:extLst>
      <p:ext uri="{BB962C8B-B14F-4D97-AF65-F5344CB8AC3E}">
        <p14:creationId xmlns:p14="http://schemas.microsoft.com/office/powerpoint/2010/main" val="37724052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that most</a:t>
            </a:r>
            <a:r>
              <a:rPr lang="en-US" baseline="0" dirty="0" smtClean="0"/>
              <a:t> governments have established strong legal and process frameworks, but they still have problems. Then ask the audience why?</a:t>
            </a:r>
            <a:endParaRPr lang="en-US" dirty="0"/>
          </a:p>
        </p:txBody>
      </p:sp>
      <p:sp>
        <p:nvSpPr>
          <p:cNvPr id="4" name="Slide Number Placeholder 3"/>
          <p:cNvSpPr>
            <a:spLocks noGrp="1"/>
          </p:cNvSpPr>
          <p:nvPr>
            <p:ph type="sldNum" sz="quarter" idx="10"/>
          </p:nvPr>
        </p:nvSpPr>
        <p:spPr/>
        <p:txBody>
          <a:bodyPr/>
          <a:lstStyle/>
          <a:p>
            <a:fld id="{71988C1B-63EF-4118-A283-8152E97C0414}" type="slidenum">
              <a:rPr lang="en-US" smtClean="0"/>
              <a:t>7</a:t>
            </a:fld>
            <a:endParaRPr lang="en-US"/>
          </a:p>
        </p:txBody>
      </p:sp>
    </p:spTree>
    <p:extLst>
      <p:ext uri="{BB962C8B-B14F-4D97-AF65-F5344CB8AC3E}">
        <p14:creationId xmlns:p14="http://schemas.microsoft.com/office/powerpoint/2010/main" val="11033406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9" name="Rectangle 8"/>
          <p:cNvSpPr/>
          <p:nvPr/>
        </p:nvSpPr>
        <p:spPr>
          <a:xfrm>
            <a:off x="0" y="0"/>
            <a:ext cx="9144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Freeform 9"/>
          <p:cNvSpPr/>
          <p:nvPr/>
        </p:nvSpPr>
        <p:spPr>
          <a:xfrm>
            <a:off x="4762" y="0"/>
            <a:ext cx="9139239" cy="4572001"/>
          </a:xfrm>
          <a:custGeom>
            <a:avLst/>
            <a:gdLst/>
            <a:ahLst/>
            <a:cxnLst/>
            <a:rect l="l" t="t" r="r" b="b"/>
            <a:pathLst>
              <a:path w="9139239" h="4572001">
                <a:moveTo>
                  <a:pt x="9139239" y="4171458"/>
                </a:moveTo>
                <a:lnTo>
                  <a:pt x="9139239" y="4479120"/>
                </a:lnTo>
                <a:lnTo>
                  <a:pt x="9061857" y="4572001"/>
                </a:lnTo>
                <a:lnTo>
                  <a:pt x="8867616" y="4572001"/>
                </a:lnTo>
                <a:cubicBezTo>
                  <a:pt x="8974940" y="4496648"/>
                  <a:pt x="9059271" y="4392377"/>
                  <a:pt x="9109281" y="4270954"/>
                </a:cubicBezTo>
                <a:close/>
                <a:moveTo>
                  <a:pt x="9139239" y="4017903"/>
                </a:moveTo>
                <a:lnTo>
                  <a:pt x="9139239" y="4146549"/>
                </a:lnTo>
                <a:lnTo>
                  <a:pt x="9061849" y="4168266"/>
                </a:lnTo>
                <a:cubicBezTo>
                  <a:pt x="8867508" y="4236060"/>
                  <a:pt x="8712637" y="4384208"/>
                  <a:pt x="8639677" y="4572001"/>
                </a:cubicBezTo>
                <a:lnTo>
                  <a:pt x="8502130" y="4572001"/>
                </a:lnTo>
                <a:cubicBezTo>
                  <a:pt x="8583823" y="4319597"/>
                  <a:pt x="8787913" y="4120306"/>
                  <a:pt x="9046727" y="4039822"/>
                </a:cubicBezTo>
                <a:close/>
                <a:moveTo>
                  <a:pt x="7620280" y="3999419"/>
                </a:moveTo>
                <a:lnTo>
                  <a:pt x="7637367" y="4001042"/>
                </a:lnTo>
                <a:cubicBezTo>
                  <a:pt x="7669753" y="4001569"/>
                  <a:pt x="7701646" y="4004550"/>
                  <a:pt x="7732829" y="4010107"/>
                </a:cubicBezTo>
                <a:cubicBezTo>
                  <a:pt x="7738405" y="4009688"/>
                  <a:pt x="7743733" y="4010636"/>
                  <a:pt x="7749042" y="4011646"/>
                </a:cubicBezTo>
                <a:lnTo>
                  <a:pt x="7749159" y="4012794"/>
                </a:lnTo>
                <a:cubicBezTo>
                  <a:pt x="8061238" y="4064450"/>
                  <a:pt x="8314467" y="4283539"/>
                  <a:pt x="8407830" y="4572001"/>
                </a:cubicBezTo>
                <a:lnTo>
                  <a:pt x="8270283" y="4572001"/>
                </a:lnTo>
                <a:cubicBezTo>
                  <a:pt x="8186900" y="4357380"/>
                  <a:pt x="7996531" y="4194541"/>
                  <a:pt x="7762529" y="4144250"/>
                </a:cubicBezTo>
                <a:cubicBezTo>
                  <a:pt x="7797023" y="4319651"/>
                  <a:pt x="7899246" y="4471530"/>
                  <a:pt x="8042344" y="4572001"/>
                </a:cubicBezTo>
                <a:lnTo>
                  <a:pt x="7848103" y="4572001"/>
                </a:lnTo>
                <a:cubicBezTo>
                  <a:pt x="7731971" y="4452596"/>
                  <a:pt x="7653409" y="4298519"/>
                  <a:pt x="7629044" y="4127511"/>
                </a:cubicBezTo>
                <a:cubicBezTo>
                  <a:pt x="7628876" y="4127458"/>
                  <a:pt x="7628708" y="4127453"/>
                  <a:pt x="7628538" y="4127448"/>
                </a:cubicBezTo>
                <a:lnTo>
                  <a:pt x="7628000" y="4120772"/>
                </a:lnTo>
                <a:cubicBezTo>
                  <a:pt x="7622941" y="4090522"/>
                  <a:pt x="7620490" y="4059631"/>
                  <a:pt x="7620533" y="4028296"/>
                </a:cubicBezTo>
                <a:cubicBezTo>
                  <a:pt x="7619221" y="4022668"/>
                  <a:pt x="7619162" y="4017001"/>
                  <a:pt x="7619162" y="4011320"/>
                </a:cubicBezTo>
                <a:lnTo>
                  <a:pt x="7619756" y="3999880"/>
                </a:lnTo>
                <a:lnTo>
                  <a:pt x="7620254" y="3999913"/>
                </a:lnTo>
                <a:close/>
                <a:moveTo>
                  <a:pt x="7597529" y="3999419"/>
                </a:moveTo>
                <a:lnTo>
                  <a:pt x="7597555" y="3999913"/>
                </a:lnTo>
                <a:lnTo>
                  <a:pt x="7598053" y="3999880"/>
                </a:lnTo>
                <a:lnTo>
                  <a:pt x="7598647" y="4011320"/>
                </a:lnTo>
                <a:cubicBezTo>
                  <a:pt x="7598647" y="4017001"/>
                  <a:pt x="7598588" y="4022668"/>
                  <a:pt x="7597276" y="4028296"/>
                </a:cubicBezTo>
                <a:cubicBezTo>
                  <a:pt x="7597319" y="4059631"/>
                  <a:pt x="7594868" y="4090522"/>
                  <a:pt x="7589809" y="4120772"/>
                </a:cubicBezTo>
                <a:lnTo>
                  <a:pt x="7589271" y="4127448"/>
                </a:lnTo>
                <a:cubicBezTo>
                  <a:pt x="7589101" y="4127453"/>
                  <a:pt x="7588933" y="4127458"/>
                  <a:pt x="7588765" y="4127511"/>
                </a:cubicBezTo>
                <a:cubicBezTo>
                  <a:pt x="7564400" y="4298519"/>
                  <a:pt x="7485838" y="4452596"/>
                  <a:pt x="7369706" y="4572001"/>
                </a:cubicBezTo>
                <a:lnTo>
                  <a:pt x="7175465" y="4572001"/>
                </a:lnTo>
                <a:cubicBezTo>
                  <a:pt x="7318563" y="4471530"/>
                  <a:pt x="7420786" y="4319651"/>
                  <a:pt x="7455280" y="4144250"/>
                </a:cubicBezTo>
                <a:cubicBezTo>
                  <a:pt x="7221278" y="4194541"/>
                  <a:pt x="7030909" y="4357380"/>
                  <a:pt x="6947526" y="4572001"/>
                </a:cubicBezTo>
                <a:lnTo>
                  <a:pt x="6809978" y="4572001"/>
                </a:lnTo>
                <a:cubicBezTo>
                  <a:pt x="6903341" y="4283539"/>
                  <a:pt x="7156571" y="4064450"/>
                  <a:pt x="7468650" y="4012794"/>
                </a:cubicBezTo>
                <a:lnTo>
                  <a:pt x="7468767" y="4011646"/>
                </a:lnTo>
                <a:cubicBezTo>
                  <a:pt x="7474076" y="4010636"/>
                  <a:pt x="7479404" y="4009688"/>
                  <a:pt x="7484980" y="4010107"/>
                </a:cubicBezTo>
                <a:cubicBezTo>
                  <a:pt x="7516163" y="4004550"/>
                  <a:pt x="7548056" y="4001569"/>
                  <a:pt x="7580442" y="4001042"/>
                </a:cubicBezTo>
                <a:close/>
                <a:moveTo>
                  <a:pt x="5928129" y="3999419"/>
                </a:moveTo>
                <a:lnTo>
                  <a:pt x="5945217" y="4001042"/>
                </a:lnTo>
                <a:cubicBezTo>
                  <a:pt x="5977602" y="4001569"/>
                  <a:pt x="6009495" y="4004550"/>
                  <a:pt x="6040678" y="4010107"/>
                </a:cubicBezTo>
                <a:cubicBezTo>
                  <a:pt x="6046254" y="4009688"/>
                  <a:pt x="6051582" y="4010636"/>
                  <a:pt x="6056891" y="4011646"/>
                </a:cubicBezTo>
                <a:lnTo>
                  <a:pt x="6057008" y="4012794"/>
                </a:lnTo>
                <a:cubicBezTo>
                  <a:pt x="6369087" y="4064450"/>
                  <a:pt x="6622316" y="4283539"/>
                  <a:pt x="6715680" y="4572001"/>
                </a:cubicBezTo>
                <a:lnTo>
                  <a:pt x="6578131" y="4572001"/>
                </a:lnTo>
                <a:cubicBezTo>
                  <a:pt x="6494748" y="4357380"/>
                  <a:pt x="6304380" y="4194541"/>
                  <a:pt x="6070378" y="4144250"/>
                </a:cubicBezTo>
                <a:cubicBezTo>
                  <a:pt x="6104872" y="4319650"/>
                  <a:pt x="6207095" y="4471530"/>
                  <a:pt x="6350192" y="4572001"/>
                </a:cubicBezTo>
                <a:lnTo>
                  <a:pt x="6155952" y="4572001"/>
                </a:lnTo>
                <a:cubicBezTo>
                  <a:pt x="6039820" y="4452596"/>
                  <a:pt x="5961257" y="4298519"/>
                  <a:pt x="5936893" y="4127511"/>
                </a:cubicBezTo>
                <a:cubicBezTo>
                  <a:pt x="5936725" y="4127458"/>
                  <a:pt x="5936557" y="4127453"/>
                  <a:pt x="5936387" y="4127448"/>
                </a:cubicBezTo>
                <a:lnTo>
                  <a:pt x="5935849" y="4120772"/>
                </a:lnTo>
                <a:cubicBezTo>
                  <a:pt x="5930790" y="4090522"/>
                  <a:pt x="5928340" y="4059631"/>
                  <a:pt x="5928382" y="4028296"/>
                </a:cubicBezTo>
                <a:cubicBezTo>
                  <a:pt x="5927070" y="4022668"/>
                  <a:pt x="5927011" y="4017001"/>
                  <a:pt x="5927011" y="4011320"/>
                </a:cubicBezTo>
                <a:lnTo>
                  <a:pt x="5927605" y="3999880"/>
                </a:lnTo>
                <a:lnTo>
                  <a:pt x="5928103" y="3999913"/>
                </a:lnTo>
                <a:close/>
                <a:moveTo>
                  <a:pt x="5905378" y="3999419"/>
                </a:moveTo>
                <a:lnTo>
                  <a:pt x="5905404" y="3999913"/>
                </a:lnTo>
                <a:lnTo>
                  <a:pt x="5905902" y="3999880"/>
                </a:lnTo>
                <a:lnTo>
                  <a:pt x="5906496" y="4011320"/>
                </a:lnTo>
                <a:cubicBezTo>
                  <a:pt x="5906496" y="4017001"/>
                  <a:pt x="5906437" y="4022668"/>
                  <a:pt x="5905125" y="4028296"/>
                </a:cubicBezTo>
                <a:cubicBezTo>
                  <a:pt x="5905167" y="4059631"/>
                  <a:pt x="5902717" y="4090522"/>
                  <a:pt x="5897658" y="4120772"/>
                </a:cubicBezTo>
                <a:lnTo>
                  <a:pt x="5897120" y="4127448"/>
                </a:lnTo>
                <a:cubicBezTo>
                  <a:pt x="5896950" y="4127453"/>
                  <a:pt x="5896782" y="4127458"/>
                  <a:pt x="5896614" y="4127511"/>
                </a:cubicBezTo>
                <a:cubicBezTo>
                  <a:pt x="5872249" y="4298519"/>
                  <a:pt x="5793686" y="4452596"/>
                  <a:pt x="5677555" y="4572001"/>
                </a:cubicBezTo>
                <a:lnTo>
                  <a:pt x="5483314" y="4572001"/>
                </a:lnTo>
                <a:cubicBezTo>
                  <a:pt x="5626412" y="4471530"/>
                  <a:pt x="5728635" y="4319650"/>
                  <a:pt x="5763129" y="4144250"/>
                </a:cubicBezTo>
                <a:cubicBezTo>
                  <a:pt x="5529126" y="4194541"/>
                  <a:pt x="5338758" y="4357380"/>
                  <a:pt x="5255375" y="4572001"/>
                </a:cubicBezTo>
                <a:lnTo>
                  <a:pt x="5117827" y="4572001"/>
                </a:lnTo>
                <a:cubicBezTo>
                  <a:pt x="5211190" y="4283539"/>
                  <a:pt x="5464420" y="4064450"/>
                  <a:pt x="5776499" y="4012794"/>
                </a:cubicBezTo>
                <a:lnTo>
                  <a:pt x="5776616" y="4011646"/>
                </a:lnTo>
                <a:cubicBezTo>
                  <a:pt x="5781926" y="4010636"/>
                  <a:pt x="5787253" y="4009688"/>
                  <a:pt x="5792829" y="4010107"/>
                </a:cubicBezTo>
                <a:cubicBezTo>
                  <a:pt x="5824012" y="4004550"/>
                  <a:pt x="5855905" y="4001569"/>
                  <a:pt x="5888290" y="4001042"/>
                </a:cubicBezTo>
                <a:close/>
                <a:moveTo>
                  <a:pt x="4235979" y="3999419"/>
                </a:moveTo>
                <a:lnTo>
                  <a:pt x="4253065" y="4001042"/>
                </a:lnTo>
                <a:cubicBezTo>
                  <a:pt x="4285451" y="4001569"/>
                  <a:pt x="4317343" y="4004550"/>
                  <a:pt x="4348528" y="4010107"/>
                </a:cubicBezTo>
                <a:cubicBezTo>
                  <a:pt x="4354104" y="4009688"/>
                  <a:pt x="4359431" y="4010636"/>
                  <a:pt x="4364739" y="4011646"/>
                </a:cubicBezTo>
                <a:lnTo>
                  <a:pt x="4364856" y="4012794"/>
                </a:lnTo>
                <a:cubicBezTo>
                  <a:pt x="4676936" y="4064450"/>
                  <a:pt x="4930165" y="4283539"/>
                  <a:pt x="5023528" y="4572001"/>
                </a:cubicBezTo>
                <a:lnTo>
                  <a:pt x="4885980" y="4572001"/>
                </a:lnTo>
                <a:cubicBezTo>
                  <a:pt x="4802597" y="4357380"/>
                  <a:pt x="4612229" y="4194541"/>
                  <a:pt x="4378227" y="4144250"/>
                </a:cubicBezTo>
                <a:cubicBezTo>
                  <a:pt x="4412722" y="4319651"/>
                  <a:pt x="4514944" y="4471530"/>
                  <a:pt x="4658041" y="4572001"/>
                </a:cubicBezTo>
                <a:lnTo>
                  <a:pt x="4463800" y="4572001"/>
                </a:lnTo>
                <a:cubicBezTo>
                  <a:pt x="4347669" y="4452596"/>
                  <a:pt x="4269106" y="4298519"/>
                  <a:pt x="4244741" y="4127511"/>
                </a:cubicBezTo>
                <a:cubicBezTo>
                  <a:pt x="4244574" y="4127458"/>
                  <a:pt x="4244405" y="4127453"/>
                  <a:pt x="4244236" y="4127448"/>
                </a:cubicBezTo>
                <a:lnTo>
                  <a:pt x="4243697" y="4120772"/>
                </a:lnTo>
                <a:cubicBezTo>
                  <a:pt x="4238639" y="4090522"/>
                  <a:pt x="4236188" y="4059631"/>
                  <a:pt x="4236230" y="4028296"/>
                </a:cubicBezTo>
                <a:cubicBezTo>
                  <a:pt x="4234918" y="4022668"/>
                  <a:pt x="4234860" y="4017001"/>
                  <a:pt x="4234860" y="4011320"/>
                </a:cubicBezTo>
                <a:lnTo>
                  <a:pt x="4235454" y="3999880"/>
                </a:lnTo>
                <a:lnTo>
                  <a:pt x="4235952" y="3999913"/>
                </a:lnTo>
                <a:close/>
                <a:moveTo>
                  <a:pt x="4213227" y="3999419"/>
                </a:moveTo>
                <a:lnTo>
                  <a:pt x="4213253" y="3999913"/>
                </a:lnTo>
                <a:lnTo>
                  <a:pt x="4213751" y="3999880"/>
                </a:lnTo>
                <a:lnTo>
                  <a:pt x="4214345" y="4011320"/>
                </a:lnTo>
                <a:cubicBezTo>
                  <a:pt x="4214345" y="4017001"/>
                  <a:pt x="4214286" y="4022668"/>
                  <a:pt x="4212974" y="4028296"/>
                </a:cubicBezTo>
                <a:cubicBezTo>
                  <a:pt x="4213016" y="4059631"/>
                  <a:pt x="4210566" y="4090522"/>
                  <a:pt x="4205507" y="4120772"/>
                </a:cubicBezTo>
                <a:lnTo>
                  <a:pt x="4204969" y="4127448"/>
                </a:lnTo>
                <a:cubicBezTo>
                  <a:pt x="4204799" y="4127453"/>
                  <a:pt x="4204631" y="4127458"/>
                  <a:pt x="4204463" y="4127511"/>
                </a:cubicBezTo>
                <a:cubicBezTo>
                  <a:pt x="4180098" y="4298519"/>
                  <a:pt x="4101535" y="4452596"/>
                  <a:pt x="3985404" y="4572001"/>
                </a:cubicBezTo>
                <a:lnTo>
                  <a:pt x="3791163" y="4572001"/>
                </a:lnTo>
                <a:cubicBezTo>
                  <a:pt x="3934261" y="4471530"/>
                  <a:pt x="4036484" y="4319651"/>
                  <a:pt x="4070978" y="4144250"/>
                </a:cubicBezTo>
                <a:cubicBezTo>
                  <a:pt x="3836975" y="4194541"/>
                  <a:pt x="3646607" y="4357380"/>
                  <a:pt x="3563224" y="4572001"/>
                </a:cubicBezTo>
                <a:lnTo>
                  <a:pt x="3425676" y="4572001"/>
                </a:lnTo>
                <a:cubicBezTo>
                  <a:pt x="3519039" y="4283539"/>
                  <a:pt x="3772269" y="4064450"/>
                  <a:pt x="4084348" y="4012794"/>
                </a:cubicBezTo>
                <a:lnTo>
                  <a:pt x="4084465" y="4011646"/>
                </a:lnTo>
                <a:cubicBezTo>
                  <a:pt x="4089774" y="4010636"/>
                  <a:pt x="4095102" y="4009688"/>
                  <a:pt x="4100678" y="4010107"/>
                </a:cubicBezTo>
                <a:cubicBezTo>
                  <a:pt x="4131861" y="4004550"/>
                  <a:pt x="4163754" y="4001569"/>
                  <a:pt x="4196139" y="4001042"/>
                </a:cubicBezTo>
                <a:close/>
                <a:moveTo>
                  <a:pt x="2543827" y="3999419"/>
                </a:moveTo>
                <a:lnTo>
                  <a:pt x="2560914" y="4001042"/>
                </a:lnTo>
                <a:cubicBezTo>
                  <a:pt x="2593300" y="4001569"/>
                  <a:pt x="2625192" y="4004550"/>
                  <a:pt x="2656376" y="4010107"/>
                </a:cubicBezTo>
                <a:cubicBezTo>
                  <a:pt x="2661952" y="4009688"/>
                  <a:pt x="2667280" y="4010636"/>
                  <a:pt x="2672588" y="4011646"/>
                </a:cubicBezTo>
                <a:lnTo>
                  <a:pt x="2672706" y="4012794"/>
                </a:lnTo>
                <a:cubicBezTo>
                  <a:pt x="2984785" y="4064450"/>
                  <a:pt x="3238014" y="4283539"/>
                  <a:pt x="3331377" y="4572001"/>
                </a:cubicBezTo>
                <a:lnTo>
                  <a:pt x="3193830" y="4572001"/>
                </a:lnTo>
                <a:cubicBezTo>
                  <a:pt x="3110446" y="4357380"/>
                  <a:pt x="2920078" y="4194541"/>
                  <a:pt x="2686076" y="4144250"/>
                </a:cubicBezTo>
                <a:cubicBezTo>
                  <a:pt x="2720570" y="4319650"/>
                  <a:pt x="2822793" y="4471530"/>
                  <a:pt x="2965890" y="4572001"/>
                </a:cubicBezTo>
                <a:lnTo>
                  <a:pt x="2771649" y="4572001"/>
                </a:lnTo>
                <a:cubicBezTo>
                  <a:pt x="2655518" y="4452596"/>
                  <a:pt x="2576955" y="4298519"/>
                  <a:pt x="2552590" y="4127511"/>
                </a:cubicBezTo>
                <a:cubicBezTo>
                  <a:pt x="2552423" y="4127458"/>
                  <a:pt x="2552254" y="4127453"/>
                  <a:pt x="2552085" y="4127448"/>
                </a:cubicBezTo>
                <a:lnTo>
                  <a:pt x="2551547" y="4120772"/>
                </a:lnTo>
                <a:cubicBezTo>
                  <a:pt x="2546488" y="4090522"/>
                  <a:pt x="2544037" y="4059631"/>
                  <a:pt x="2544079" y="4028296"/>
                </a:cubicBezTo>
                <a:cubicBezTo>
                  <a:pt x="2542767" y="4022668"/>
                  <a:pt x="2542709" y="4017001"/>
                  <a:pt x="2542709" y="4011320"/>
                </a:cubicBezTo>
                <a:lnTo>
                  <a:pt x="2543303" y="3999880"/>
                </a:lnTo>
                <a:lnTo>
                  <a:pt x="2543801" y="3999913"/>
                </a:lnTo>
                <a:close/>
                <a:moveTo>
                  <a:pt x="2521076" y="3999419"/>
                </a:moveTo>
                <a:lnTo>
                  <a:pt x="2521102" y="3999913"/>
                </a:lnTo>
                <a:lnTo>
                  <a:pt x="2521600" y="3999880"/>
                </a:lnTo>
                <a:lnTo>
                  <a:pt x="2522194" y="4011320"/>
                </a:lnTo>
                <a:cubicBezTo>
                  <a:pt x="2522194" y="4017001"/>
                  <a:pt x="2522135" y="4022668"/>
                  <a:pt x="2520823" y="4028296"/>
                </a:cubicBezTo>
                <a:cubicBezTo>
                  <a:pt x="2520865" y="4059631"/>
                  <a:pt x="2518415" y="4090522"/>
                  <a:pt x="2513356" y="4120772"/>
                </a:cubicBezTo>
                <a:lnTo>
                  <a:pt x="2512818" y="4127448"/>
                </a:lnTo>
                <a:cubicBezTo>
                  <a:pt x="2512648" y="4127453"/>
                  <a:pt x="2512480" y="4127458"/>
                  <a:pt x="2512312" y="4127511"/>
                </a:cubicBezTo>
                <a:cubicBezTo>
                  <a:pt x="2487947" y="4298519"/>
                  <a:pt x="2409385" y="4452596"/>
                  <a:pt x="2293253" y="4572001"/>
                </a:cubicBezTo>
                <a:lnTo>
                  <a:pt x="2099012" y="4572001"/>
                </a:lnTo>
                <a:cubicBezTo>
                  <a:pt x="2242110" y="4471530"/>
                  <a:pt x="2344333" y="4319651"/>
                  <a:pt x="2378827" y="4144250"/>
                </a:cubicBezTo>
                <a:cubicBezTo>
                  <a:pt x="2144825" y="4194541"/>
                  <a:pt x="1954456" y="4357380"/>
                  <a:pt x="1871073" y="4572001"/>
                </a:cubicBezTo>
                <a:lnTo>
                  <a:pt x="1733525" y="4572001"/>
                </a:lnTo>
                <a:cubicBezTo>
                  <a:pt x="1826888" y="4283539"/>
                  <a:pt x="2080118" y="4064450"/>
                  <a:pt x="2392197" y="4012794"/>
                </a:cubicBezTo>
                <a:lnTo>
                  <a:pt x="2392314" y="4011646"/>
                </a:lnTo>
                <a:cubicBezTo>
                  <a:pt x="2397623" y="4010636"/>
                  <a:pt x="2402951" y="4009688"/>
                  <a:pt x="2408527" y="4010107"/>
                </a:cubicBezTo>
                <a:cubicBezTo>
                  <a:pt x="2439710" y="4004550"/>
                  <a:pt x="2471603" y="4001569"/>
                  <a:pt x="2503988" y="4001042"/>
                </a:cubicBezTo>
                <a:close/>
                <a:moveTo>
                  <a:pt x="851676" y="3999419"/>
                </a:moveTo>
                <a:lnTo>
                  <a:pt x="868763" y="4001042"/>
                </a:lnTo>
                <a:cubicBezTo>
                  <a:pt x="901149" y="4001569"/>
                  <a:pt x="933041" y="4004550"/>
                  <a:pt x="964225" y="4010107"/>
                </a:cubicBezTo>
                <a:cubicBezTo>
                  <a:pt x="969801" y="4009688"/>
                  <a:pt x="975129" y="4010636"/>
                  <a:pt x="980437" y="4011646"/>
                </a:cubicBezTo>
                <a:lnTo>
                  <a:pt x="980555" y="4012794"/>
                </a:lnTo>
                <a:cubicBezTo>
                  <a:pt x="1292634" y="4064450"/>
                  <a:pt x="1545864" y="4283539"/>
                  <a:pt x="1639226" y="4572001"/>
                </a:cubicBezTo>
                <a:lnTo>
                  <a:pt x="1501679" y="4572001"/>
                </a:lnTo>
                <a:cubicBezTo>
                  <a:pt x="1418296" y="4357380"/>
                  <a:pt x="1227927" y="4194541"/>
                  <a:pt x="993925" y="4144250"/>
                </a:cubicBezTo>
                <a:cubicBezTo>
                  <a:pt x="1028419" y="4319651"/>
                  <a:pt x="1130642" y="4471530"/>
                  <a:pt x="1273740" y="4572001"/>
                </a:cubicBezTo>
                <a:lnTo>
                  <a:pt x="1079499" y="4572001"/>
                </a:lnTo>
                <a:cubicBezTo>
                  <a:pt x="963367" y="4452596"/>
                  <a:pt x="884804" y="4298519"/>
                  <a:pt x="860439" y="4127511"/>
                </a:cubicBezTo>
                <a:cubicBezTo>
                  <a:pt x="860272" y="4127458"/>
                  <a:pt x="860103" y="4127453"/>
                  <a:pt x="859934" y="4127448"/>
                </a:cubicBezTo>
                <a:lnTo>
                  <a:pt x="859396" y="4120772"/>
                </a:lnTo>
                <a:cubicBezTo>
                  <a:pt x="854337" y="4090522"/>
                  <a:pt x="851886" y="4059631"/>
                  <a:pt x="851928" y="4028296"/>
                </a:cubicBezTo>
                <a:cubicBezTo>
                  <a:pt x="850616" y="4022668"/>
                  <a:pt x="850558" y="4017001"/>
                  <a:pt x="850558" y="4011320"/>
                </a:cubicBezTo>
                <a:lnTo>
                  <a:pt x="851152" y="3999880"/>
                </a:lnTo>
                <a:lnTo>
                  <a:pt x="851650" y="3999913"/>
                </a:lnTo>
                <a:close/>
                <a:moveTo>
                  <a:pt x="828925" y="3999419"/>
                </a:moveTo>
                <a:lnTo>
                  <a:pt x="828951" y="3999913"/>
                </a:lnTo>
                <a:lnTo>
                  <a:pt x="829449" y="3999880"/>
                </a:lnTo>
                <a:lnTo>
                  <a:pt x="830043" y="4011320"/>
                </a:lnTo>
                <a:cubicBezTo>
                  <a:pt x="830043" y="4017001"/>
                  <a:pt x="829984" y="4022668"/>
                  <a:pt x="828672" y="4028296"/>
                </a:cubicBezTo>
                <a:cubicBezTo>
                  <a:pt x="828714" y="4059631"/>
                  <a:pt x="826264" y="4090522"/>
                  <a:pt x="821205" y="4120772"/>
                </a:cubicBezTo>
                <a:lnTo>
                  <a:pt x="820667" y="4127448"/>
                </a:lnTo>
                <a:cubicBezTo>
                  <a:pt x="820497" y="4127453"/>
                  <a:pt x="820329" y="4127458"/>
                  <a:pt x="820161" y="4127511"/>
                </a:cubicBezTo>
                <a:cubicBezTo>
                  <a:pt x="795796" y="4298519"/>
                  <a:pt x="717234" y="4452596"/>
                  <a:pt x="601102" y="4572001"/>
                </a:cubicBezTo>
                <a:lnTo>
                  <a:pt x="406861" y="4572001"/>
                </a:lnTo>
                <a:cubicBezTo>
                  <a:pt x="549959" y="4471530"/>
                  <a:pt x="652182" y="4319650"/>
                  <a:pt x="686676" y="4144250"/>
                </a:cubicBezTo>
                <a:cubicBezTo>
                  <a:pt x="452674" y="4194541"/>
                  <a:pt x="262305" y="4357380"/>
                  <a:pt x="178922" y="4572001"/>
                </a:cubicBezTo>
                <a:lnTo>
                  <a:pt x="41374" y="4572001"/>
                </a:lnTo>
                <a:cubicBezTo>
                  <a:pt x="134738" y="4283539"/>
                  <a:pt x="387967" y="4064450"/>
                  <a:pt x="700046" y="4012794"/>
                </a:cubicBezTo>
                <a:lnTo>
                  <a:pt x="700163" y="4011646"/>
                </a:lnTo>
                <a:cubicBezTo>
                  <a:pt x="705472" y="4010636"/>
                  <a:pt x="710800" y="4009688"/>
                  <a:pt x="716376" y="4010107"/>
                </a:cubicBezTo>
                <a:cubicBezTo>
                  <a:pt x="747559" y="4004550"/>
                  <a:pt x="779452" y="4001569"/>
                  <a:pt x="811837" y="4001042"/>
                </a:cubicBezTo>
                <a:close/>
                <a:moveTo>
                  <a:pt x="8305836" y="3304913"/>
                </a:moveTo>
                <a:cubicBezTo>
                  <a:pt x="8030646" y="3363591"/>
                  <a:pt x="7815802" y="3576701"/>
                  <a:pt x="7762527" y="3845480"/>
                </a:cubicBezTo>
                <a:cubicBezTo>
                  <a:pt x="8037717" y="3786801"/>
                  <a:pt x="8252560" y="3573691"/>
                  <a:pt x="8305836" y="3304913"/>
                </a:cubicBezTo>
                <a:close/>
                <a:moveTo>
                  <a:pt x="6911971" y="3304913"/>
                </a:moveTo>
                <a:cubicBezTo>
                  <a:pt x="6965247" y="3573691"/>
                  <a:pt x="7180090" y="3786801"/>
                  <a:pt x="7455280" y="3845480"/>
                </a:cubicBezTo>
                <a:cubicBezTo>
                  <a:pt x="7402005" y="3576701"/>
                  <a:pt x="7187161" y="3363591"/>
                  <a:pt x="6911971" y="3304913"/>
                </a:cubicBezTo>
                <a:close/>
                <a:moveTo>
                  <a:pt x="6613685" y="3304913"/>
                </a:moveTo>
                <a:cubicBezTo>
                  <a:pt x="6338495" y="3363591"/>
                  <a:pt x="6123651" y="3576701"/>
                  <a:pt x="6070376" y="3845480"/>
                </a:cubicBezTo>
                <a:cubicBezTo>
                  <a:pt x="6345566" y="3786801"/>
                  <a:pt x="6560409" y="3573691"/>
                  <a:pt x="6613685" y="3304913"/>
                </a:cubicBezTo>
                <a:close/>
                <a:moveTo>
                  <a:pt x="5219820" y="3304913"/>
                </a:moveTo>
                <a:cubicBezTo>
                  <a:pt x="5273096" y="3573691"/>
                  <a:pt x="5487939" y="3786801"/>
                  <a:pt x="5763129" y="3845480"/>
                </a:cubicBezTo>
                <a:cubicBezTo>
                  <a:pt x="5709854" y="3576701"/>
                  <a:pt x="5495010" y="3363591"/>
                  <a:pt x="5219820" y="3304913"/>
                </a:cubicBezTo>
                <a:close/>
                <a:moveTo>
                  <a:pt x="4921534" y="3304913"/>
                </a:moveTo>
                <a:cubicBezTo>
                  <a:pt x="4646344" y="3363591"/>
                  <a:pt x="4431500" y="3576701"/>
                  <a:pt x="4378225" y="3845480"/>
                </a:cubicBezTo>
                <a:cubicBezTo>
                  <a:pt x="4653415" y="3786801"/>
                  <a:pt x="4868259" y="3573691"/>
                  <a:pt x="4921534" y="3304913"/>
                </a:cubicBezTo>
                <a:close/>
                <a:moveTo>
                  <a:pt x="3527669" y="3304913"/>
                </a:moveTo>
                <a:cubicBezTo>
                  <a:pt x="3580945" y="3573691"/>
                  <a:pt x="3795788" y="3786801"/>
                  <a:pt x="4070978" y="3845480"/>
                </a:cubicBezTo>
                <a:cubicBezTo>
                  <a:pt x="4017703" y="3576701"/>
                  <a:pt x="3802859" y="3363591"/>
                  <a:pt x="3527669" y="3304913"/>
                </a:cubicBezTo>
                <a:close/>
                <a:moveTo>
                  <a:pt x="3229383" y="3304913"/>
                </a:moveTo>
                <a:cubicBezTo>
                  <a:pt x="2954193" y="3363591"/>
                  <a:pt x="2739349" y="3576701"/>
                  <a:pt x="2686074" y="3845480"/>
                </a:cubicBezTo>
                <a:cubicBezTo>
                  <a:pt x="2961264" y="3786801"/>
                  <a:pt x="3176107" y="3573691"/>
                  <a:pt x="3229383" y="3304913"/>
                </a:cubicBezTo>
                <a:close/>
                <a:moveTo>
                  <a:pt x="1835518" y="3304913"/>
                </a:moveTo>
                <a:cubicBezTo>
                  <a:pt x="1888794" y="3573691"/>
                  <a:pt x="2103637" y="3786801"/>
                  <a:pt x="2378827" y="3845480"/>
                </a:cubicBezTo>
                <a:cubicBezTo>
                  <a:pt x="2325552" y="3576701"/>
                  <a:pt x="2110708" y="3363591"/>
                  <a:pt x="1835518" y="3304913"/>
                </a:cubicBezTo>
                <a:close/>
                <a:moveTo>
                  <a:pt x="1537232" y="3304913"/>
                </a:moveTo>
                <a:cubicBezTo>
                  <a:pt x="1262042" y="3363591"/>
                  <a:pt x="1047198" y="3576701"/>
                  <a:pt x="993923" y="3845480"/>
                </a:cubicBezTo>
                <a:cubicBezTo>
                  <a:pt x="1269113" y="3786801"/>
                  <a:pt x="1483956" y="3573691"/>
                  <a:pt x="1537232" y="3304913"/>
                </a:cubicBezTo>
                <a:close/>
                <a:moveTo>
                  <a:pt x="143367" y="3304913"/>
                </a:moveTo>
                <a:cubicBezTo>
                  <a:pt x="196643" y="3573691"/>
                  <a:pt x="411486" y="3786801"/>
                  <a:pt x="686676" y="3845480"/>
                </a:cubicBezTo>
                <a:cubicBezTo>
                  <a:pt x="633401" y="3576701"/>
                  <a:pt x="418557" y="3363591"/>
                  <a:pt x="143367" y="3304913"/>
                </a:cubicBezTo>
                <a:close/>
                <a:moveTo>
                  <a:pt x="8461873" y="3161219"/>
                </a:moveTo>
                <a:lnTo>
                  <a:pt x="8478960" y="3162829"/>
                </a:lnTo>
                <a:cubicBezTo>
                  <a:pt x="8511346" y="3163352"/>
                  <a:pt x="8543239" y="3166310"/>
                  <a:pt x="8574422" y="3171823"/>
                </a:cubicBezTo>
                <a:cubicBezTo>
                  <a:pt x="8579998" y="3171407"/>
                  <a:pt x="8585326" y="3172348"/>
                  <a:pt x="8590635" y="3173350"/>
                </a:cubicBezTo>
                <a:lnTo>
                  <a:pt x="8590752" y="3174489"/>
                </a:lnTo>
                <a:cubicBezTo>
                  <a:pt x="8815033" y="3211322"/>
                  <a:pt x="9008920" y="3333951"/>
                  <a:pt x="9135069" y="3506215"/>
                </a:cubicBezTo>
                <a:lnTo>
                  <a:pt x="9139239" y="3512974"/>
                </a:lnTo>
                <a:lnTo>
                  <a:pt x="9139239" y="3816134"/>
                </a:lnTo>
                <a:lnTo>
                  <a:pt x="9120077" y="3747490"/>
                </a:lnTo>
                <a:cubicBezTo>
                  <a:pt x="9039502" y="3525837"/>
                  <a:pt x="8844913" y="3356256"/>
                  <a:pt x="8604122" y="3304913"/>
                </a:cubicBezTo>
                <a:cubicBezTo>
                  <a:pt x="8650738" y="3540094"/>
                  <a:pt x="8821055" y="3732654"/>
                  <a:pt x="9047261" y="3816429"/>
                </a:cubicBezTo>
                <a:lnTo>
                  <a:pt x="9139239" y="3843104"/>
                </a:lnTo>
                <a:lnTo>
                  <a:pt x="9139239" y="3970603"/>
                </a:lnTo>
                <a:lnTo>
                  <a:pt x="9030179" y="3943797"/>
                </a:lnTo>
                <a:cubicBezTo>
                  <a:pt x="8735297" y="3846211"/>
                  <a:pt x="8514628" y="3594637"/>
                  <a:pt x="8470637" y="3288305"/>
                </a:cubicBezTo>
                <a:cubicBezTo>
                  <a:pt x="8470469" y="3288253"/>
                  <a:pt x="8470301" y="3288248"/>
                  <a:pt x="8470131" y="3288243"/>
                </a:cubicBezTo>
                <a:lnTo>
                  <a:pt x="8469593" y="3281619"/>
                </a:lnTo>
                <a:cubicBezTo>
                  <a:pt x="8464534" y="3251607"/>
                  <a:pt x="8462083" y="3220958"/>
                  <a:pt x="8462126" y="3189869"/>
                </a:cubicBezTo>
                <a:cubicBezTo>
                  <a:pt x="8460814" y="3184286"/>
                  <a:pt x="8460755" y="3178663"/>
                  <a:pt x="8460755" y="3173027"/>
                </a:cubicBezTo>
                <a:lnTo>
                  <a:pt x="8461349" y="3161677"/>
                </a:lnTo>
                <a:lnTo>
                  <a:pt x="8461847" y="3161709"/>
                </a:lnTo>
                <a:close/>
                <a:moveTo>
                  <a:pt x="8448085" y="3161219"/>
                </a:moveTo>
                <a:lnTo>
                  <a:pt x="8448111" y="3161709"/>
                </a:lnTo>
                <a:lnTo>
                  <a:pt x="8448609" y="3161677"/>
                </a:lnTo>
                <a:lnTo>
                  <a:pt x="8449203" y="3173027"/>
                </a:lnTo>
                <a:cubicBezTo>
                  <a:pt x="8449203" y="3178663"/>
                  <a:pt x="8449144" y="3184286"/>
                  <a:pt x="8447832" y="3189869"/>
                </a:cubicBezTo>
                <a:cubicBezTo>
                  <a:pt x="8447875" y="3220958"/>
                  <a:pt x="8445424" y="3251607"/>
                  <a:pt x="8440365" y="3281619"/>
                </a:cubicBezTo>
                <a:lnTo>
                  <a:pt x="8439827" y="3288243"/>
                </a:lnTo>
                <a:cubicBezTo>
                  <a:pt x="8439657" y="3288248"/>
                  <a:pt x="8439489" y="3288253"/>
                  <a:pt x="8439321" y="3288305"/>
                </a:cubicBezTo>
                <a:cubicBezTo>
                  <a:pt x="8389046" y="3638399"/>
                  <a:pt x="8108007" y="3916971"/>
                  <a:pt x="7749156" y="3975903"/>
                </a:cubicBezTo>
                <a:lnTo>
                  <a:pt x="7749040" y="3977042"/>
                </a:lnTo>
                <a:cubicBezTo>
                  <a:pt x="7743729" y="3978045"/>
                  <a:pt x="7738400" y="3978986"/>
                  <a:pt x="7732823" y="3978570"/>
                </a:cubicBezTo>
                <a:cubicBezTo>
                  <a:pt x="7701651" y="3984080"/>
                  <a:pt x="7669771" y="3987038"/>
                  <a:pt x="7637396" y="3987561"/>
                </a:cubicBezTo>
                <a:lnTo>
                  <a:pt x="7620278" y="3989174"/>
                </a:lnTo>
                <a:lnTo>
                  <a:pt x="7620252" y="3988683"/>
                </a:lnTo>
                <a:lnTo>
                  <a:pt x="7619753" y="3988716"/>
                </a:lnTo>
                <a:cubicBezTo>
                  <a:pt x="7619187" y="3984944"/>
                  <a:pt x="7619160" y="3981158"/>
                  <a:pt x="7619160" y="3977366"/>
                </a:cubicBezTo>
                <a:cubicBezTo>
                  <a:pt x="7619160" y="3971728"/>
                  <a:pt x="7619219" y="3966104"/>
                  <a:pt x="7620531" y="3960518"/>
                </a:cubicBezTo>
                <a:cubicBezTo>
                  <a:pt x="7620488" y="3929436"/>
                  <a:pt x="7622938" y="3898794"/>
                  <a:pt x="7627995" y="3868787"/>
                </a:cubicBezTo>
                <a:lnTo>
                  <a:pt x="7628535" y="3862150"/>
                </a:lnTo>
                <a:cubicBezTo>
                  <a:pt x="7628704" y="3862145"/>
                  <a:pt x="7628873" y="3862140"/>
                  <a:pt x="7629040" y="3862087"/>
                </a:cubicBezTo>
                <a:cubicBezTo>
                  <a:pt x="7679317" y="3511992"/>
                  <a:pt x="7960356" y="3233421"/>
                  <a:pt x="8319206" y="3174489"/>
                </a:cubicBezTo>
                <a:lnTo>
                  <a:pt x="8319323" y="3173350"/>
                </a:lnTo>
                <a:cubicBezTo>
                  <a:pt x="8324632" y="3172348"/>
                  <a:pt x="8329960" y="3171407"/>
                  <a:pt x="8335536" y="3171823"/>
                </a:cubicBezTo>
                <a:cubicBezTo>
                  <a:pt x="8366719" y="3166310"/>
                  <a:pt x="8398612" y="3163352"/>
                  <a:pt x="8430998" y="3162829"/>
                </a:cubicBezTo>
                <a:close/>
                <a:moveTo>
                  <a:pt x="6769722" y="3161219"/>
                </a:moveTo>
                <a:lnTo>
                  <a:pt x="6786810" y="3162829"/>
                </a:lnTo>
                <a:cubicBezTo>
                  <a:pt x="6819195" y="3163352"/>
                  <a:pt x="6851088" y="3166310"/>
                  <a:pt x="6882271" y="3171823"/>
                </a:cubicBezTo>
                <a:cubicBezTo>
                  <a:pt x="6887847" y="3171407"/>
                  <a:pt x="6893175" y="3172348"/>
                  <a:pt x="6898484" y="3173350"/>
                </a:cubicBezTo>
                <a:lnTo>
                  <a:pt x="6898601" y="3174489"/>
                </a:lnTo>
                <a:cubicBezTo>
                  <a:pt x="7257451" y="3233421"/>
                  <a:pt x="7538490" y="3511992"/>
                  <a:pt x="7588766" y="3862087"/>
                </a:cubicBezTo>
                <a:cubicBezTo>
                  <a:pt x="7588934" y="3862140"/>
                  <a:pt x="7589103" y="3862145"/>
                  <a:pt x="7589272" y="3862150"/>
                </a:cubicBezTo>
                <a:lnTo>
                  <a:pt x="7589812" y="3868787"/>
                </a:lnTo>
                <a:cubicBezTo>
                  <a:pt x="7594869" y="3898794"/>
                  <a:pt x="7597319" y="3929436"/>
                  <a:pt x="7597276" y="3960518"/>
                </a:cubicBezTo>
                <a:cubicBezTo>
                  <a:pt x="7598588" y="3966104"/>
                  <a:pt x="7598647" y="3971728"/>
                  <a:pt x="7598647" y="3977366"/>
                </a:cubicBezTo>
                <a:cubicBezTo>
                  <a:pt x="7598647" y="3981158"/>
                  <a:pt x="7598620" y="3984944"/>
                  <a:pt x="7598054" y="3988716"/>
                </a:cubicBezTo>
                <a:lnTo>
                  <a:pt x="7597555" y="3988683"/>
                </a:lnTo>
                <a:lnTo>
                  <a:pt x="7597529" y="3989174"/>
                </a:lnTo>
                <a:lnTo>
                  <a:pt x="7580411" y="3987561"/>
                </a:lnTo>
                <a:cubicBezTo>
                  <a:pt x="7548036" y="3987038"/>
                  <a:pt x="7516156" y="3984080"/>
                  <a:pt x="7484984" y="3978570"/>
                </a:cubicBezTo>
                <a:cubicBezTo>
                  <a:pt x="7479407" y="3978986"/>
                  <a:pt x="7474078" y="3978045"/>
                  <a:pt x="7468767" y="3977042"/>
                </a:cubicBezTo>
                <a:lnTo>
                  <a:pt x="7468651" y="3975903"/>
                </a:lnTo>
                <a:cubicBezTo>
                  <a:pt x="7109800" y="3916971"/>
                  <a:pt x="6828761" y="3638399"/>
                  <a:pt x="6778486" y="3288305"/>
                </a:cubicBezTo>
                <a:cubicBezTo>
                  <a:pt x="6778318" y="3288253"/>
                  <a:pt x="6778150" y="3288248"/>
                  <a:pt x="6777980" y="3288243"/>
                </a:cubicBezTo>
                <a:lnTo>
                  <a:pt x="6777442" y="3281619"/>
                </a:lnTo>
                <a:cubicBezTo>
                  <a:pt x="6772383" y="3251607"/>
                  <a:pt x="6769933" y="3220958"/>
                  <a:pt x="6769975" y="3189869"/>
                </a:cubicBezTo>
                <a:cubicBezTo>
                  <a:pt x="6768663" y="3184286"/>
                  <a:pt x="6768604" y="3178663"/>
                  <a:pt x="6768604" y="3173027"/>
                </a:cubicBezTo>
                <a:lnTo>
                  <a:pt x="6769198" y="3161677"/>
                </a:lnTo>
                <a:lnTo>
                  <a:pt x="6769696" y="3161709"/>
                </a:lnTo>
                <a:close/>
                <a:moveTo>
                  <a:pt x="6755934" y="3161219"/>
                </a:moveTo>
                <a:lnTo>
                  <a:pt x="6755960" y="3161709"/>
                </a:lnTo>
                <a:lnTo>
                  <a:pt x="6756458" y="3161677"/>
                </a:lnTo>
                <a:lnTo>
                  <a:pt x="6757052" y="3173027"/>
                </a:lnTo>
                <a:cubicBezTo>
                  <a:pt x="6757052" y="3178663"/>
                  <a:pt x="6756994" y="3184286"/>
                  <a:pt x="6755682" y="3189869"/>
                </a:cubicBezTo>
                <a:cubicBezTo>
                  <a:pt x="6755724" y="3220958"/>
                  <a:pt x="6753273" y="3251607"/>
                  <a:pt x="6748215" y="3281619"/>
                </a:cubicBezTo>
                <a:lnTo>
                  <a:pt x="6747676" y="3288243"/>
                </a:lnTo>
                <a:cubicBezTo>
                  <a:pt x="6747507" y="3288248"/>
                  <a:pt x="6747338" y="3288253"/>
                  <a:pt x="6747171" y="3288305"/>
                </a:cubicBezTo>
                <a:cubicBezTo>
                  <a:pt x="6696895" y="3638399"/>
                  <a:pt x="6415856" y="3916971"/>
                  <a:pt x="6057005" y="3975903"/>
                </a:cubicBezTo>
                <a:lnTo>
                  <a:pt x="6056889" y="3977042"/>
                </a:lnTo>
                <a:cubicBezTo>
                  <a:pt x="6051578" y="3978045"/>
                  <a:pt x="6046249" y="3978986"/>
                  <a:pt x="6040672" y="3978570"/>
                </a:cubicBezTo>
                <a:cubicBezTo>
                  <a:pt x="6009500" y="3984080"/>
                  <a:pt x="5977620" y="3987038"/>
                  <a:pt x="5945246" y="3987561"/>
                </a:cubicBezTo>
                <a:lnTo>
                  <a:pt x="5928127" y="3989174"/>
                </a:lnTo>
                <a:lnTo>
                  <a:pt x="5928101" y="3988683"/>
                </a:lnTo>
                <a:lnTo>
                  <a:pt x="5927602" y="3988716"/>
                </a:lnTo>
                <a:cubicBezTo>
                  <a:pt x="5927036" y="3984944"/>
                  <a:pt x="5927009" y="3981158"/>
                  <a:pt x="5927009" y="3977366"/>
                </a:cubicBezTo>
                <a:cubicBezTo>
                  <a:pt x="5927009" y="3971728"/>
                  <a:pt x="5927068" y="3966104"/>
                  <a:pt x="5928380" y="3960518"/>
                </a:cubicBezTo>
                <a:cubicBezTo>
                  <a:pt x="5928338" y="3929436"/>
                  <a:pt x="5930787" y="3898794"/>
                  <a:pt x="5935844" y="3868787"/>
                </a:cubicBezTo>
                <a:lnTo>
                  <a:pt x="5936384" y="3862150"/>
                </a:lnTo>
                <a:cubicBezTo>
                  <a:pt x="5936553" y="3862145"/>
                  <a:pt x="5936722" y="3862140"/>
                  <a:pt x="5936890" y="3862087"/>
                </a:cubicBezTo>
                <a:cubicBezTo>
                  <a:pt x="5987166" y="3511992"/>
                  <a:pt x="6268205" y="3233421"/>
                  <a:pt x="6627056" y="3174489"/>
                </a:cubicBezTo>
                <a:lnTo>
                  <a:pt x="6627173" y="3173350"/>
                </a:lnTo>
                <a:cubicBezTo>
                  <a:pt x="6632481" y="3172348"/>
                  <a:pt x="6637809" y="3171407"/>
                  <a:pt x="6643385" y="3171823"/>
                </a:cubicBezTo>
                <a:cubicBezTo>
                  <a:pt x="6674569" y="3166310"/>
                  <a:pt x="6706461" y="3163352"/>
                  <a:pt x="6738847" y="3162829"/>
                </a:cubicBezTo>
                <a:close/>
                <a:moveTo>
                  <a:pt x="5077571" y="3161219"/>
                </a:moveTo>
                <a:lnTo>
                  <a:pt x="5094659" y="3162829"/>
                </a:lnTo>
                <a:cubicBezTo>
                  <a:pt x="5127044" y="3163352"/>
                  <a:pt x="5158937" y="3166310"/>
                  <a:pt x="5190120" y="3171823"/>
                </a:cubicBezTo>
                <a:cubicBezTo>
                  <a:pt x="5195696" y="3171407"/>
                  <a:pt x="5201024" y="3172348"/>
                  <a:pt x="5206334" y="3173350"/>
                </a:cubicBezTo>
                <a:lnTo>
                  <a:pt x="5206450" y="3174489"/>
                </a:lnTo>
                <a:cubicBezTo>
                  <a:pt x="5565300" y="3233421"/>
                  <a:pt x="5846339" y="3511992"/>
                  <a:pt x="5896616" y="3862087"/>
                </a:cubicBezTo>
                <a:cubicBezTo>
                  <a:pt x="5896783" y="3862140"/>
                  <a:pt x="5896953" y="3862145"/>
                  <a:pt x="5897121" y="3862150"/>
                </a:cubicBezTo>
                <a:lnTo>
                  <a:pt x="5897662" y="3868787"/>
                </a:lnTo>
                <a:cubicBezTo>
                  <a:pt x="5902718" y="3898794"/>
                  <a:pt x="5905168" y="3929436"/>
                  <a:pt x="5905126" y="3960518"/>
                </a:cubicBezTo>
                <a:cubicBezTo>
                  <a:pt x="5906438" y="3966104"/>
                  <a:pt x="5906496" y="3971728"/>
                  <a:pt x="5906496" y="3977366"/>
                </a:cubicBezTo>
                <a:cubicBezTo>
                  <a:pt x="5906496" y="3981158"/>
                  <a:pt x="5906469" y="3984944"/>
                  <a:pt x="5905903" y="3988716"/>
                </a:cubicBezTo>
                <a:lnTo>
                  <a:pt x="5905404" y="3988683"/>
                </a:lnTo>
                <a:lnTo>
                  <a:pt x="5905378" y="3989174"/>
                </a:lnTo>
                <a:lnTo>
                  <a:pt x="5888260" y="3987561"/>
                </a:lnTo>
                <a:cubicBezTo>
                  <a:pt x="5855886" y="3987038"/>
                  <a:pt x="5824005" y="3984080"/>
                  <a:pt x="5792833" y="3978570"/>
                </a:cubicBezTo>
                <a:cubicBezTo>
                  <a:pt x="5787256" y="3978986"/>
                  <a:pt x="5781927" y="3978045"/>
                  <a:pt x="5776617" y="3977042"/>
                </a:cubicBezTo>
                <a:lnTo>
                  <a:pt x="5776501" y="3975903"/>
                </a:lnTo>
                <a:cubicBezTo>
                  <a:pt x="5417649" y="3916971"/>
                  <a:pt x="5136610" y="3638399"/>
                  <a:pt x="5086335" y="3288305"/>
                </a:cubicBezTo>
                <a:cubicBezTo>
                  <a:pt x="5086167" y="3288253"/>
                  <a:pt x="5085999" y="3288248"/>
                  <a:pt x="5085830" y="3288243"/>
                </a:cubicBezTo>
                <a:lnTo>
                  <a:pt x="5085291" y="3281619"/>
                </a:lnTo>
                <a:cubicBezTo>
                  <a:pt x="5080233" y="3251607"/>
                  <a:pt x="5077782" y="3220958"/>
                  <a:pt x="5077824" y="3189869"/>
                </a:cubicBezTo>
                <a:cubicBezTo>
                  <a:pt x="5076512" y="3184286"/>
                  <a:pt x="5076453" y="3178663"/>
                  <a:pt x="5076453" y="3173027"/>
                </a:cubicBezTo>
                <a:lnTo>
                  <a:pt x="5077047" y="3161677"/>
                </a:lnTo>
                <a:lnTo>
                  <a:pt x="5077545" y="3161709"/>
                </a:lnTo>
                <a:close/>
                <a:moveTo>
                  <a:pt x="5063783" y="3161219"/>
                </a:moveTo>
                <a:lnTo>
                  <a:pt x="5063809" y="3161709"/>
                </a:lnTo>
                <a:lnTo>
                  <a:pt x="5064307" y="3161677"/>
                </a:lnTo>
                <a:lnTo>
                  <a:pt x="5064902" y="3173027"/>
                </a:lnTo>
                <a:cubicBezTo>
                  <a:pt x="5064902" y="3178663"/>
                  <a:pt x="5064842" y="3184286"/>
                  <a:pt x="5063530" y="3189869"/>
                </a:cubicBezTo>
                <a:cubicBezTo>
                  <a:pt x="5063572" y="3220958"/>
                  <a:pt x="5061122" y="3251607"/>
                  <a:pt x="5056063" y="3281619"/>
                </a:cubicBezTo>
                <a:lnTo>
                  <a:pt x="5055525" y="3288243"/>
                </a:lnTo>
                <a:cubicBezTo>
                  <a:pt x="5055355" y="3288248"/>
                  <a:pt x="5055187" y="3288253"/>
                  <a:pt x="5055019" y="3288305"/>
                </a:cubicBezTo>
                <a:cubicBezTo>
                  <a:pt x="5004744" y="3638399"/>
                  <a:pt x="4723705" y="3916971"/>
                  <a:pt x="4364853" y="3975903"/>
                </a:cubicBezTo>
                <a:lnTo>
                  <a:pt x="4364737" y="3977042"/>
                </a:lnTo>
                <a:cubicBezTo>
                  <a:pt x="4359427" y="3978045"/>
                  <a:pt x="4354098" y="3978986"/>
                  <a:pt x="4348521" y="3978570"/>
                </a:cubicBezTo>
                <a:cubicBezTo>
                  <a:pt x="4317350" y="3984080"/>
                  <a:pt x="4285468" y="3987038"/>
                  <a:pt x="4253094" y="3987561"/>
                </a:cubicBezTo>
                <a:lnTo>
                  <a:pt x="4235976" y="3989174"/>
                </a:lnTo>
                <a:lnTo>
                  <a:pt x="4235950" y="3988683"/>
                </a:lnTo>
                <a:lnTo>
                  <a:pt x="4235451" y="3988716"/>
                </a:lnTo>
                <a:cubicBezTo>
                  <a:pt x="4234885" y="3984944"/>
                  <a:pt x="4234858" y="3981158"/>
                  <a:pt x="4234858" y="3977366"/>
                </a:cubicBezTo>
                <a:cubicBezTo>
                  <a:pt x="4234858" y="3971728"/>
                  <a:pt x="4234916" y="3966104"/>
                  <a:pt x="4236228" y="3960518"/>
                </a:cubicBezTo>
                <a:cubicBezTo>
                  <a:pt x="4236186" y="3929436"/>
                  <a:pt x="4238636" y="3898794"/>
                  <a:pt x="4243692" y="3868787"/>
                </a:cubicBezTo>
                <a:lnTo>
                  <a:pt x="4244233" y="3862150"/>
                </a:lnTo>
                <a:cubicBezTo>
                  <a:pt x="4244401" y="3862145"/>
                  <a:pt x="4244571" y="3862140"/>
                  <a:pt x="4244738" y="3862087"/>
                </a:cubicBezTo>
                <a:cubicBezTo>
                  <a:pt x="4295015" y="3511992"/>
                  <a:pt x="4576054" y="3233421"/>
                  <a:pt x="4934904" y="3174489"/>
                </a:cubicBezTo>
                <a:lnTo>
                  <a:pt x="4935021" y="3173350"/>
                </a:lnTo>
                <a:cubicBezTo>
                  <a:pt x="4940330" y="3172348"/>
                  <a:pt x="4945658" y="3171407"/>
                  <a:pt x="4951234" y="3171823"/>
                </a:cubicBezTo>
                <a:cubicBezTo>
                  <a:pt x="4982417" y="3166310"/>
                  <a:pt x="5014310" y="3163352"/>
                  <a:pt x="5046695" y="3162829"/>
                </a:cubicBezTo>
                <a:close/>
                <a:moveTo>
                  <a:pt x="3385420" y="3161219"/>
                </a:moveTo>
                <a:lnTo>
                  <a:pt x="3402507" y="3162829"/>
                </a:lnTo>
                <a:cubicBezTo>
                  <a:pt x="3434893" y="3163352"/>
                  <a:pt x="3466785" y="3166310"/>
                  <a:pt x="3497969" y="3171823"/>
                </a:cubicBezTo>
                <a:cubicBezTo>
                  <a:pt x="3503545" y="3171407"/>
                  <a:pt x="3508873" y="3172348"/>
                  <a:pt x="3514181" y="3173350"/>
                </a:cubicBezTo>
                <a:lnTo>
                  <a:pt x="3514298" y="3174489"/>
                </a:lnTo>
                <a:cubicBezTo>
                  <a:pt x="3873149" y="3233421"/>
                  <a:pt x="4154188" y="3511992"/>
                  <a:pt x="4204464" y="3862087"/>
                </a:cubicBezTo>
                <a:cubicBezTo>
                  <a:pt x="4204632" y="3862140"/>
                  <a:pt x="4204801" y="3862145"/>
                  <a:pt x="4204970" y="3862150"/>
                </a:cubicBezTo>
                <a:lnTo>
                  <a:pt x="4205510" y="3868787"/>
                </a:lnTo>
                <a:cubicBezTo>
                  <a:pt x="4210567" y="3898794"/>
                  <a:pt x="4213016" y="3929436"/>
                  <a:pt x="4212974" y="3960518"/>
                </a:cubicBezTo>
                <a:cubicBezTo>
                  <a:pt x="4214286" y="3966104"/>
                  <a:pt x="4214345" y="3971728"/>
                  <a:pt x="4214345" y="3977366"/>
                </a:cubicBezTo>
                <a:cubicBezTo>
                  <a:pt x="4214345" y="3981158"/>
                  <a:pt x="4214318" y="3984944"/>
                  <a:pt x="4213752" y="3988716"/>
                </a:cubicBezTo>
                <a:lnTo>
                  <a:pt x="4213253" y="3988683"/>
                </a:lnTo>
                <a:lnTo>
                  <a:pt x="4213227" y="3989174"/>
                </a:lnTo>
                <a:lnTo>
                  <a:pt x="4196108" y="3987561"/>
                </a:lnTo>
                <a:cubicBezTo>
                  <a:pt x="4163734" y="3987038"/>
                  <a:pt x="4131854" y="3984080"/>
                  <a:pt x="4100682" y="3978570"/>
                </a:cubicBezTo>
                <a:cubicBezTo>
                  <a:pt x="4095105" y="3978986"/>
                  <a:pt x="4089776" y="3978045"/>
                  <a:pt x="4084465" y="3977042"/>
                </a:cubicBezTo>
                <a:lnTo>
                  <a:pt x="4084349" y="3975903"/>
                </a:lnTo>
                <a:cubicBezTo>
                  <a:pt x="3725498" y="3916971"/>
                  <a:pt x="3444459" y="3638399"/>
                  <a:pt x="3394183" y="3288305"/>
                </a:cubicBezTo>
                <a:cubicBezTo>
                  <a:pt x="3394016" y="3288253"/>
                  <a:pt x="3393847" y="3288248"/>
                  <a:pt x="3393678" y="3288243"/>
                </a:cubicBezTo>
                <a:lnTo>
                  <a:pt x="3393139" y="3281619"/>
                </a:lnTo>
                <a:cubicBezTo>
                  <a:pt x="3388081" y="3251607"/>
                  <a:pt x="3385630" y="3220958"/>
                  <a:pt x="3385672" y="3189869"/>
                </a:cubicBezTo>
                <a:cubicBezTo>
                  <a:pt x="3384360" y="3184286"/>
                  <a:pt x="3384302" y="3178663"/>
                  <a:pt x="3384302" y="3173027"/>
                </a:cubicBezTo>
                <a:lnTo>
                  <a:pt x="3384896" y="3161677"/>
                </a:lnTo>
                <a:lnTo>
                  <a:pt x="3385394" y="3161709"/>
                </a:lnTo>
                <a:close/>
                <a:moveTo>
                  <a:pt x="3371632" y="3161219"/>
                </a:moveTo>
                <a:lnTo>
                  <a:pt x="3371658" y="3161709"/>
                </a:lnTo>
                <a:lnTo>
                  <a:pt x="3372156" y="3161677"/>
                </a:lnTo>
                <a:lnTo>
                  <a:pt x="3372750" y="3173027"/>
                </a:lnTo>
                <a:cubicBezTo>
                  <a:pt x="3372750" y="3178663"/>
                  <a:pt x="3372691" y="3184286"/>
                  <a:pt x="3371379" y="3189869"/>
                </a:cubicBezTo>
                <a:cubicBezTo>
                  <a:pt x="3371421" y="3220958"/>
                  <a:pt x="3368971" y="3251607"/>
                  <a:pt x="3363912" y="3281619"/>
                </a:cubicBezTo>
                <a:lnTo>
                  <a:pt x="3363374" y="3288243"/>
                </a:lnTo>
                <a:cubicBezTo>
                  <a:pt x="3363204" y="3288248"/>
                  <a:pt x="3363036" y="3288253"/>
                  <a:pt x="3362868" y="3288305"/>
                </a:cubicBezTo>
                <a:cubicBezTo>
                  <a:pt x="3312593" y="3638399"/>
                  <a:pt x="3031554" y="3916971"/>
                  <a:pt x="2672703" y="3975903"/>
                </a:cubicBezTo>
                <a:lnTo>
                  <a:pt x="2672586" y="3977042"/>
                </a:lnTo>
                <a:cubicBezTo>
                  <a:pt x="2667276" y="3978045"/>
                  <a:pt x="2661947" y="3978986"/>
                  <a:pt x="2656370" y="3978570"/>
                </a:cubicBezTo>
                <a:cubicBezTo>
                  <a:pt x="2625198" y="3984080"/>
                  <a:pt x="2593318" y="3987038"/>
                  <a:pt x="2560943" y="3987561"/>
                </a:cubicBezTo>
                <a:lnTo>
                  <a:pt x="2543825" y="3989174"/>
                </a:lnTo>
                <a:lnTo>
                  <a:pt x="2543799" y="3988683"/>
                </a:lnTo>
                <a:lnTo>
                  <a:pt x="2543300" y="3988716"/>
                </a:lnTo>
                <a:cubicBezTo>
                  <a:pt x="2542734" y="3984944"/>
                  <a:pt x="2542707" y="3981158"/>
                  <a:pt x="2542707" y="3977366"/>
                </a:cubicBezTo>
                <a:cubicBezTo>
                  <a:pt x="2542707" y="3971728"/>
                  <a:pt x="2542765" y="3966104"/>
                  <a:pt x="2544077" y="3960518"/>
                </a:cubicBezTo>
                <a:cubicBezTo>
                  <a:pt x="2544035" y="3929436"/>
                  <a:pt x="2546485" y="3898794"/>
                  <a:pt x="2551541" y="3868787"/>
                </a:cubicBezTo>
                <a:lnTo>
                  <a:pt x="2552082" y="3862150"/>
                </a:lnTo>
                <a:cubicBezTo>
                  <a:pt x="2552250" y="3862145"/>
                  <a:pt x="2552420" y="3862140"/>
                  <a:pt x="2552587" y="3862087"/>
                </a:cubicBezTo>
                <a:cubicBezTo>
                  <a:pt x="2602864" y="3511992"/>
                  <a:pt x="2883903" y="3233421"/>
                  <a:pt x="3242753" y="3174489"/>
                </a:cubicBezTo>
                <a:lnTo>
                  <a:pt x="3242870" y="3173350"/>
                </a:lnTo>
                <a:cubicBezTo>
                  <a:pt x="3248179" y="3172348"/>
                  <a:pt x="3253507" y="3171407"/>
                  <a:pt x="3259083" y="3171823"/>
                </a:cubicBezTo>
                <a:cubicBezTo>
                  <a:pt x="3290266" y="3166310"/>
                  <a:pt x="3322159" y="3163352"/>
                  <a:pt x="3354544" y="3162829"/>
                </a:cubicBezTo>
                <a:close/>
                <a:moveTo>
                  <a:pt x="1693269" y="3161219"/>
                </a:moveTo>
                <a:lnTo>
                  <a:pt x="1710356" y="3162829"/>
                </a:lnTo>
                <a:cubicBezTo>
                  <a:pt x="1742742" y="3163352"/>
                  <a:pt x="1774634" y="3166310"/>
                  <a:pt x="1805818" y="3171823"/>
                </a:cubicBezTo>
                <a:cubicBezTo>
                  <a:pt x="1811394" y="3171407"/>
                  <a:pt x="1816722" y="3172348"/>
                  <a:pt x="1822030" y="3173350"/>
                </a:cubicBezTo>
                <a:lnTo>
                  <a:pt x="1822148" y="3174489"/>
                </a:lnTo>
                <a:cubicBezTo>
                  <a:pt x="2180998" y="3233421"/>
                  <a:pt x="2462037" y="3511992"/>
                  <a:pt x="2512313" y="3862087"/>
                </a:cubicBezTo>
                <a:cubicBezTo>
                  <a:pt x="2512481" y="3862140"/>
                  <a:pt x="2512650" y="3862145"/>
                  <a:pt x="2512819" y="3862150"/>
                </a:cubicBezTo>
                <a:lnTo>
                  <a:pt x="2513359" y="3868787"/>
                </a:lnTo>
                <a:cubicBezTo>
                  <a:pt x="2518416" y="3898794"/>
                  <a:pt x="2520865" y="3929436"/>
                  <a:pt x="2520823" y="3960518"/>
                </a:cubicBezTo>
                <a:cubicBezTo>
                  <a:pt x="2522135" y="3966104"/>
                  <a:pt x="2522194" y="3971728"/>
                  <a:pt x="2522194" y="3977366"/>
                </a:cubicBezTo>
                <a:cubicBezTo>
                  <a:pt x="2522194" y="3981158"/>
                  <a:pt x="2522167" y="3984944"/>
                  <a:pt x="2521601" y="3988716"/>
                </a:cubicBezTo>
                <a:lnTo>
                  <a:pt x="2521102" y="3988683"/>
                </a:lnTo>
                <a:lnTo>
                  <a:pt x="2521076" y="3989174"/>
                </a:lnTo>
                <a:lnTo>
                  <a:pt x="2503957" y="3987561"/>
                </a:lnTo>
                <a:cubicBezTo>
                  <a:pt x="2471583" y="3987038"/>
                  <a:pt x="2439703" y="3984080"/>
                  <a:pt x="2408531" y="3978570"/>
                </a:cubicBezTo>
                <a:cubicBezTo>
                  <a:pt x="2402954" y="3978986"/>
                  <a:pt x="2397625" y="3978045"/>
                  <a:pt x="2392314" y="3977042"/>
                </a:cubicBezTo>
                <a:lnTo>
                  <a:pt x="2392198" y="3975903"/>
                </a:lnTo>
                <a:cubicBezTo>
                  <a:pt x="2033347" y="3916971"/>
                  <a:pt x="1752308" y="3638399"/>
                  <a:pt x="1702032" y="3288305"/>
                </a:cubicBezTo>
                <a:cubicBezTo>
                  <a:pt x="1701865" y="3288253"/>
                  <a:pt x="1701696" y="3288248"/>
                  <a:pt x="1701527" y="3288243"/>
                </a:cubicBezTo>
                <a:lnTo>
                  <a:pt x="1700989" y="3281619"/>
                </a:lnTo>
                <a:cubicBezTo>
                  <a:pt x="1695930" y="3251607"/>
                  <a:pt x="1693479" y="3220958"/>
                  <a:pt x="1693521" y="3189869"/>
                </a:cubicBezTo>
                <a:cubicBezTo>
                  <a:pt x="1692209" y="3184286"/>
                  <a:pt x="1692151" y="3178663"/>
                  <a:pt x="1692151" y="3173027"/>
                </a:cubicBezTo>
                <a:lnTo>
                  <a:pt x="1692745" y="3161677"/>
                </a:lnTo>
                <a:lnTo>
                  <a:pt x="1693243" y="3161709"/>
                </a:lnTo>
                <a:close/>
                <a:moveTo>
                  <a:pt x="1679481" y="3161219"/>
                </a:moveTo>
                <a:lnTo>
                  <a:pt x="1679507" y="3161709"/>
                </a:lnTo>
                <a:lnTo>
                  <a:pt x="1680005" y="3161677"/>
                </a:lnTo>
                <a:lnTo>
                  <a:pt x="1680599" y="3173027"/>
                </a:lnTo>
                <a:cubicBezTo>
                  <a:pt x="1680599" y="3178663"/>
                  <a:pt x="1680540" y="3184286"/>
                  <a:pt x="1679228" y="3189869"/>
                </a:cubicBezTo>
                <a:cubicBezTo>
                  <a:pt x="1679270" y="3220958"/>
                  <a:pt x="1676820" y="3251607"/>
                  <a:pt x="1671761" y="3281619"/>
                </a:cubicBezTo>
                <a:lnTo>
                  <a:pt x="1671223" y="3288243"/>
                </a:lnTo>
                <a:cubicBezTo>
                  <a:pt x="1671053" y="3288248"/>
                  <a:pt x="1670885" y="3288253"/>
                  <a:pt x="1670717" y="3288305"/>
                </a:cubicBezTo>
                <a:cubicBezTo>
                  <a:pt x="1620442" y="3638399"/>
                  <a:pt x="1339403" y="3916971"/>
                  <a:pt x="980552" y="3975903"/>
                </a:cubicBezTo>
                <a:lnTo>
                  <a:pt x="980435" y="3977042"/>
                </a:lnTo>
                <a:cubicBezTo>
                  <a:pt x="975125" y="3978045"/>
                  <a:pt x="969796" y="3978986"/>
                  <a:pt x="964219" y="3978570"/>
                </a:cubicBezTo>
                <a:cubicBezTo>
                  <a:pt x="933047" y="3984080"/>
                  <a:pt x="901167" y="3987038"/>
                  <a:pt x="868792" y="3987561"/>
                </a:cubicBezTo>
                <a:lnTo>
                  <a:pt x="851674" y="3989174"/>
                </a:lnTo>
                <a:lnTo>
                  <a:pt x="851648" y="3988683"/>
                </a:lnTo>
                <a:lnTo>
                  <a:pt x="851149" y="3988716"/>
                </a:lnTo>
                <a:cubicBezTo>
                  <a:pt x="850583" y="3984944"/>
                  <a:pt x="850556" y="3981158"/>
                  <a:pt x="850556" y="3977366"/>
                </a:cubicBezTo>
                <a:cubicBezTo>
                  <a:pt x="850556" y="3971728"/>
                  <a:pt x="850614" y="3966104"/>
                  <a:pt x="851926" y="3960518"/>
                </a:cubicBezTo>
                <a:cubicBezTo>
                  <a:pt x="851884" y="3929436"/>
                  <a:pt x="854334" y="3898794"/>
                  <a:pt x="859390" y="3868787"/>
                </a:cubicBezTo>
                <a:lnTo>
                  <a:pt x="859931" y="3862150"/>
                </a:lnTo>
                <a:cubicBezTo>
                  <a:pt x="860099" y="3862145"/>
                  <a:pt x="860269" y="3862140"/>
                  <a:pt x="860436" y="3862087"/>
                </a:cubicBezTo>
                <a:cubicBezTo>
                  <a:pt x="910713" y="3511992"/>
                  <a:pt x="1191752" y="3233421"/>
                  <a:pt x="1550602" y="3174489"/>
                </a:cubicBezTo>
                <a:lnTo>
                  <a:pt x="1550719" y="3173350"/>
                </a:lnTo>
                <a:cubicBezTo>
                  <a:pt x="1556028" y="3172348"/>
                  <a:pt x="1561356" y="3171407"/>
                  <a:pt x="1566932" y="3171823"/>
                </a:cubicBezTo>
                <a:cubicBezTo>
                  <a:pt x="1598115" y="3166310"/>
                  <a:pt x="1630008" y="3163352"/>
                  <a:pt x="1662393" y="3162829"/>
                </a:cubicBezTo>
                <a:close/>
                <a:moveTo>
                  <a:pt x="1118" y="3161219"/>
                </a:moveTo>
                <a:lnTo>
                  <a:pt x="18205" y="3162829"/>
                </a:lnTo>
                <a:cubicBezTo>
                  <a:pt x="50591" y="3163352"/>
                  <a:pt x="82483" y="3166310"/>
                  <a:pt x="113667" y="3171823"/>
                </a:cubicBezTo>
                <a:cubicBezTo>
                  <a:pt x="119243" y="3171407"/>
                  <a:pt x="124571" y="3172348"/>
                  <a:pt x="129879" y="3173350"/>
                </a:cubicBezTo>
                <a:lnTo>
                  <a:pt x="129997" y="3174489"/>
                </a:lnTo>
                <a:cubicBezTo>
                  <a:pt x="488847" y="3233421"/>
                  <a:pt x="769886" y="3511992"/>
                  <a:pt x="820162" y="3862087"/>
                </a:cubicBezTo>
                <a:cubicBezTo>
                  <a:pt x="820330" y="3862140"/>
                  <a:pt x="820499" y="3862145"/>
                  <a:pt x="820668" y="3862150"/>
                </a:cubicBezTo>
                <a:lnTo>
                  <a:pt x="821208" y="3868787"/>
                </a:lnTo>
                <a:cubicBezTo>
                  <a:pt x="826265" y="3898794"/>
                  <a:pt x="828714" y="3929436"/>
                  <a:pt x="828672" y="3960518"/>
                </a:cubicBezTo>
                <a:cubicBezTo>
                  <a:pt x="829984" y="3966104"/>
                  <a:pt x="830043" y="3971728"/>
                  <a:pt x="830043" y="3977366"/>
                </a:cubicBezTo>
                <a:cubicBezTo>
                  <a:pt x="830043" y="3981158"/>
                  <a:pt x="830016" y="3984944"/>
                  <a:pt x="829450" y="3988716"/>
                </a:cubicBezTo>
                <a:lnTo>
                  <a:pt x="828951" y="3988683"/>
                </a:lnTo>
                <a:lnTo>
                  <a:pt x="828925" y="3989174"/>
                </a:lnTo>
                <a:lnTo>
                  <a:pt x="811806" y="3987561"/>
                </a:lnTo>
                <a:cubicBezTo>
                  <a:pt x="779432" y="3987038"/>
                  <a:pt x="747552" y="3984080"/>
                  <a:pt x="716380" y="3978570"/>
                </a:cubicBezTo>
                <a:cubicBezTo>
                  <a:pt x="710803" y="3978986"/>
                  <a:pt x="705474" y="3978045"/>
                  <a:pt x="700163" y="3977042"/>
                </a:cubicBezTo>
                <a:lnTo>
                  <a:pt x="700047" y="3975903"/>
                </a:lnTo>
                <a:cubicBezTo>
                  <a:pt x="341196" y="3916971"/>
                  <a:pt x="60157" y="3638399"/>
                  <a:pt x="9881" y="3288305"/>
                </a:cubicBezTo>
                <a:cubicBezTo>
                  <a:pt x="9714" y="3288253"/>
                  <a:pt x="9545" y="3288248"/>
                  <a:pt x="9376" y="3288243"/>
                </a:cubicBezTo>
                <a:lnTo>
                  <a:pt x="8837" y="3281619"/>
                </a:lnTo>
                <a:cubicBezTo>
                  <a:pt x="3779" y="3251607"/>
                  <a:pt x="1328" y="3220958"/>
                  <a:pt x="1370" y="3189869"/>
                </a:cubicBezTo>
                <a:cubicBezTo>
                  <a:pt x="58" y="3184286"/>
                  <a:pt x="0" y="3178663"/>
                  <a:pt x="0" y="3173027"/>
                </a:cubicBezTo>
                <a:lnTo>
                  <a:pt x="594" y="3161677"/>
                </a:lnTo>
                <a:lnTo>
                  <a:pt x="1092" y="3161709"/>
                </a:lnTo>
                <a:close/>
                <a:moveTo>
                  <a:pt x="7762529" y="2447425"/>
                </a:moveTo>
                <a:cubicBezTo>
                  <a:pt x="7815805" y="2718331"/>
                  <a:pt x="8030648" y="2933128"/>
                  <a:pt x="8305838" y="2992271"/>
                </a:cubicBezTo>
                <a:cubicBezTo>
                  <a:pt x="8252563" y="2721365"/>
                  <a:pt x="8037719" y="2506568"/>
                  <a:pt x="7762529" y="2447425"/>
                </a:cubicBezTo>
                <a:close/>
                <a:moveTo>
                  <a:pt x="7455280" y="2447425"/>
                </a:moveTo>
                <a:cubicBezTo>
                  <a:pt x="7180090" y="2506568"/>
                  <a:pt x="6965246" y="2721365"/>
                  <a:pt x="6911971" y="2992271"/>
                </a:cubicBezTo>
                <a:cubicBezTo>
                  <a:pt x="7187161" y="2933128"/>
                  <a:pt x="7402004" y="2718331"/>
                  <a:pt x="7455280" y="2447425"/>
                </a:cubicBezTo>
                <a:close/>
                <a:moveTo>
                  <a:pt x="6070378" y="2447425"/>
                </a:moveTo>
                <a:cubicBezTo>
                  <a:pt x="6123654" y="2718331"/>
                  <a:pt x="6338497" y="2933128"/>
                  <a:pt x="6613687" y="2992271"/>
                </a:cubicBezTo>
                <a:cubicBezTo>
                  <a:pt x="6560412" y="2721365"/>
                  <a:pt x="6345568" y="2506568"/>
                  <a:pt x="6070378" y="2447425"/>
                </a:cubicBezTo>
                <a:close/>
                <a:moveTo>
                  <a:pt x="5763129" y="2447425"/>
                </a:moveTo>
                <a:cubicBezTo>
                  <a:pt x="5487939" y="2506568"/>
                  <a:pt x="5273095" y="2721365"/>
                  <a:pt x="5219820" y="2992271"/>
                </a:cubicBezTo>
                <a:cubicBezTo>
                  <a:pt x="5495010" y="2933128"/>
                  <a:pt x="5709853" y="2718331"/>
                  <a:pt x="5763129" y="2447425"/>
                </a:cubicBezTo>
                <a:close/>
                <a:moveTo>
                  <a:pt x="4378227" y="2447425"/>
                </a:moveTo>
                <a:cubicBezTo>
                  <a:pt x="4431503" y="2718331"/>
                  <a:pt x="4646346" y="2933128"/>
                  <a:pt x="4921536" y="2992271"/>
                </a:cubicBezTo>
                <a:cubicBezTo>
                  <a:pt x="4868261" y="2721365"/>
                  <a:pt x="4653417" y="2506568"/>
                  <a:pt x="4378227" y="2447425"/>
                </a:cubicBezTo>
                <a:close/>
                <a:moveTo>
                  <a:pt x="4070978" y="2447425"/>
                </a:moveTo>
                <a:cubicBezTo>
                  <a:pt x="3795788" y="2506568"/>
                  <a:pt x="3580944" y="2721365"/>
                  <a:pt x="3527669" y="2992271"/>
                </a:cubicBezTo>
                <a:cubicBezTo>
                  <a:pt x="3802859" y="2933128"/>
                  <a:pt x="4017702" y="2718331"/>
                  <a:pt x="4070978" y="2447425"/>
                </a:cubicBezTo>
                <a:close/>
                <a:moveTo>
                  <a:pt x="2686076" y="2447425"/>
                </a:moveTo>
                <a:cubicBezTo>
                  <a:pt x="2739352" y="2718331"/>
                  <a:pt x="2954195" y="2933128"/>
                  <a:pt x="3229385" y="2992271"/>
                </a:cubicBezTo>
                <a:cubicBezTo>
                  <a:pt x="3176110" y="2721365"/>
                  <a:pt x="2961266" y="2506568"/>
                  <a:pt x="2686076" y="2447425"/>
                </a:cubicBezTo>
                <a:close/>
                <a:moveTo>
                  <a:pt x="2378827" y="2447425"/>
                </a:moveTo>
                <a:cubicBezTo>
                  <a:pt x="2103637" y="2506568"/>
                  <a:pt x="1888793" y="2721365"/>
                  <a:pt x="1835518" y="2992271"/>
                </a:cubicBezTo>
                <a:cubicBezTo>
                  <a:pt x="2110708" y="2933128"/>
                  <a:pt x="2325551" y="2718331"/>
                  <a:pt x="2378827" y="2447425"/>
                </a:cubicBezTo>
                <a:close/>
                <a:moveTo>
                  <a:pt x="993925" y="2447425"/>
                </a:moveTo>
                <a:cubicBezTo>
                  <a:pt x="1047201" y="2718331"/>
                  <a:pt x="1262044" y="2933128"/>
                  <a:pt x="1537234" y="2992271"/>
                </a:cubicBezTo>
                <a:cubicBezTo>
                  <a:pt x="1483959" y="2721365"/>
                  <a:pt x="1269115" y="2506568"/>
                  <a:pt x="993925" y="2447425"/>
                </a:cubicBezTo>
                <a:close/>
                <a:moveTo>
                  <a:pt x="686676" y="2447425"/>
                </a:moveTo>
                <a:cubicBezTo>
                  <a:pt x="411486" y="2506568"/>
                  <a:pt x="196642" y="2721365"/>
                  <a:pt x="143367" y="2992271"/>
                </a:cubicBezTo>
                <a:cubicBezTo>
                  <a:pt x="418557" y="2933128"/>
                  <a:pt x="633400" y="2718331"/>
                  <a:pt x="686676" y="2447425"/>
                </a:cubicBezTo>
                <a:close/>
                <a:moveTo>
                  <a:pt x="9139239" y="2321311"/>
                </a:moveTo>
                <a:lnTo>
                  <a:pt x="9139239" y="2449820"/>
                </a:lnTo>
                <a:lnTo>
                  <a:pt x="9047261" y="2476706"/>
                </a:lnTo>
                <a:cubicBezTo>
                  <a:pt x="8821055" y="2561144"/>
                  <a:pt x="8650738" y="2755228"/>
                  <a:pt x="8604122" y="2992271"/>
                </a:cubicBezTo>
                <a:cubicBezTo>
                  <a:pt x="8844913" y="2940521"/>
                  <a:pt x="9039501" y="2769598"/>
                  <a:pt x="9120077" y="2546190"/>
                </a:cubicBezTo>
                <a:lnTo>
                  <a:pt x="9139239" y="2477003"/>
                </a:lnTo>
                <a:lnTo>
                  <a:pt x="9139239" y="2782562"/>
                </a:lnTo>
                <a:lnTo>
                  <a:pt x="9135069" y="2789374"/>
                </a:lnTo>
                <a:cubicBezTo>
                  <a:pt x="9008919" y="2963003"/>
                  <a:pt x="8815033" y="3086603"/>
                  <a:pt x="8590751" y="3123727"/>
                </a:cubicBezTo>
                <a:lnTo>
                  <a:pt x="8590635" y="3124875"/>
                </a:lnTo>
                <a:cubicBezTo>
                  <a:pt x="8585324" y="3125886"/>
                  <a:pt x="8579995" y="3126834"/>
                  <a:pt x="8574418" y="3126415"/>
                </a:cubicBezTo>
                <a:cubicBezTo>
                  <a:pt x="8543246" y="3131969"/>
                  <a:pt x="8511366" y="3134950"/>
                  <a:pt x="8478991" y="3135477"/>
                </a:cubicBezTo>
                <a:lnTo>
                  <a:pt x="8461873" y="3137103"/>
                </a:lnTo>
                <a:lnTo>
                  <a:pt x="8461847" y="3136608"/>
                </a:lnTo>
                <a:lnTo>
                  <a:pt x="8461348" y="3136641"/>
                </a:lnTo>
                <a:cubicBezTo>
                  <a:pt x="8460782" y="3132839"/>
                  <a:pt x="8460755" y="3129023"/>
                  <a:pt x="8460755" y="3125201"/>
                </a:cubicBezTo>
                <a:cubicBezTo>
                  <a:pt x="8460755" y="3119519"/>
                  <a:pt x="8460814" y="3113850"/>
                  <a:pt x="8462126" y="3108220"/>
                </a:cubicBezTo>
                <a:cubicBezTo>
                  <a:pt x="8462083" y="3076892"/>
                  <a:pt x="8464533" y="3046007"/>
                  <a:pt x="8469590" y="3015763"/>
                </a:cubicBezTo>
                <a:lnTo>
                  <a:pt x="8470130" y="3009073"/>
                </a:lnTo>
                <a:cubicBezTo>
                  <a:pt x="8470299" y="3009068"/>
                  <a:pt x="8470468" y="3009063"/>
                  <a:pt x="8470636" y="3009010"/>
                </a:cubicBezTo>
                <a:cubicBezTo>
                  <a:pt x="8514628" y="2700252"/>
                  <a:pt x="8735297" y="2446688"/>
                  <a:pt x="9030178" y="2348329"/>
                </a:cubicBezTo>
                <a:close/>
                <a:moveTo>
                  <a:pt x="7620280" y="2302594"/>
                </a:moveTo>
                <a:lnTo>
                  <a:pt x="7637367" y="2304217"/>
                </a:lnTo>
                <a:cubicBezTo>
                  <a:pt x="7669753" y="2304744"/>
                  <a:pt x="7701646" y="2307725"/>
                  <a:pt x="7732829" y="2313282"/>
                </a:cubicBezTo>
                <a:cubicBezTo>
                  <a:pt x="7738405" y="2312863"/>
                  <a:pt x="7743733" y="2313811"/>
                  <a:pt x="7749042" y="2314821"/>
                </a:cubicBezTo>
                <a:lnTo>
                  <a:pt x="7749159" y="2315969"/>
                </a:lnTo>
                <a:cubicBezTo>
                  <a:pt x="8108009" y="2375367"/>
                  <a:pt x="8389048" y="2656144"/>
                  <a:pt x="8439324" y="3009010"/>
                </a:cubicBezTo>
                <a:cubicBezTo>
                  <a:pt x="8439492" y="3009063"/>
                  <a:pt x="8439661" y="3009068"/>
                  <a:pt x="8439830" y="3009073"/>
                </a:cubicBezTo>
                <a:lnTo>
                  <a:pt x="8440370" y="3015763"/>
                </a:lnTo>
                <a:cubicBezTo>
                  <a:pt x="8445427" y="3046007"/>
                  <a:pt x="8447877" y="3076892"/>
                  <a:pt x="8447834" y="3108220"/>
                </a:cubicBezTo>
                <a:cubicBezTo>
                  <a:pt x="8449146" y="3113850"/>
                  <a:pt x="8449205" y="3119519"/>
                  <a:pt x="8449205" y="3125201"/>
                </a:cubicBezTo>
                <a:cubicBezTo>
                  <a:pt x="8449205" y="3129023"/>
                  <a:pt x="8449178" y="3132839"/>
                  <a:pt x="8448612" y="3136641"/>
                </a:cubicBezTo>
                <a:lnTo>
                  <a:pt x="8448113" y="3136608"/>
                </a:lnTo>
                <a:lnTo>
                  <a:pt x="8448087" y="3137103"/>
                </a:lnTo>
                <a:lnTo>
                  <a:pt x="8430969" y="3135477"/>
                </a:lnTo>
                <a:cubicBezTo>
                  <a:pt x="8398594" y="3134950"/>
                  <a:pt x="8366714" y="3131969"/>
                  <a:pt x="8335542" y="3126415"/>
                </a:cubicBezTo>
                <a:cubicBezTo>
                  <a:pt x="8329965" y="3126834"/>
                  <a:pt x="8324636" y="3125886"/>
                  <a:pt x="8319325" y="3124875"/>
                </a:cubicBezTo>
                <a:lnTo>
                  <a:pt x="8319209" y="3123727"/>
                </a:lnTo>
                <a:cubicBezTo>
                  <a:pt x="7960358" y="3064328"/>
                  <a:pt x="7679319" y="2783551"/>
                  <a:pt x="7629044" y="2430686"/>
                </a:cubicBezTo>
                <a:cubicBezTo>
                  <a:pt x="7628876" y="2430633"/>
                  <a:pt x="7628708" y="2430628"/>
                  <a:pt x="7628538" y="2430623"/>
                </a:cubicBezTo>
                <a:lnTo>
                  <a:pt x="7628000" y="2423947"/>
                </a:lnTo>
                <a:cubicBezTo>
                  <a:pt x="7622941" y="2393697"/>
                  <a:pt x="7620490" y="2362806"/>
                  <a:pt x="7620533" y="2331471"/>
                </a:cubicBezTo>
                <a:cubicBezTo>
                  <a:pt x="7619221" y="2325843"/>
                  <a:pt x="7619162" y="2320176"/>
                  <a:pt x="7619162" y="2314495"/>
                </a:cubicBezTo>
                <a:lnTo>
                  <a:pt x="7619756" y="2303055"/>
                </a:lnTo>
                <a:lnTo>
                  <a:pt x="7620254" y="2303088"/>
                </a:lnTo>
                <a:close/>
                <a:moveTo>
                  <a:pt x="7597529" y="2302594"/>
                </a:moveTo>
                <a:lnTo>
                  <a:pt x="7597555" y="2303088"/>
                </a:lnTo>
                <a:lnTo>
                  <a:pt x="7598053" y="2303055"/>
                </a:lnTo>
                <a:lnTo>
                  <a:pt x="7598647" y="2314495"/>
                </a:lnTo>
                <a:cubicBezTo>
                  <a:pt x="7598647" y="2320176"/>
                  <a:pt x="7598588" y="2325843"/>
                  <a:pt x="7597276" y="2331471"/>
                </a:cubicBezTo>
                <a:cubicBezTo>
                  <a:pt x="7597319" y="2362806"/>
                  <a:pt x="7594868" y="2393697"/>
                  <a:pt x="7589809" y="2423947"/>
                </a:cubicBezTo>
                <a:lnTo>
                  <a:pt x="7589271" y="2430623"/>
                </a:lnTo>
                <a:cubicBezTo>
                  <a:pt x="7589101" y="2430628"/>
                  <a:pt x="7588933" y="2430633"/>
                  <a:pt x="7588765" y="2430686"/>
                </a:cubicBezTo>
                <a:cubicBezTo>
                  <a:pt x="7538490" y="2783551"/>
                  <a:pt x="7257451" y="3064328"/>
                  <a:pt x="6898600" y="3123727"/>
                </a:cubicBezTo>
                <a:lnTo>
                  <a:pt x="6898484" y="3124875"/>
                </a:lnTo>
                <a:cubicBezTo>
                  <a:pt x="6893173" y="3125886"/>
                  <a:pt x="6887844" y="3126834"/>
                  <a:pt x="6882267" y="3126415"/>
                </a:cubicBezTo>
                <a:cubicBezTo>
                  <a:pt x="6851095" y="3131969"/>
                  <a:pt x="6819215" y="3134950"/>
                  <a:pt x="6786841" y="3135477"/>
                </a:cubicBezTo>
                <a:lnTo>
                  <a:pt x="6769722" y="3137103"/>
                </a:lnTo>
                <a:lnTo>
                  <a:pt x="6769696" y="3136608"/>
                </a:lnTo>
                <a:lnTo>
                  <a:pt x="6769197" y="3136641"/>
                </a:lnTo>
                <a:cubicBezTo>
                  <a:pt x="6768631" y="3132839"/>
                  <a:pt x="6768604" y="3129023"/>
                  <a:pt x="6768604" y="3125201"/>
                </a:cubicBezTo>
                <a:cubicBezTo>
                  <a:pt x="6768604" y="3119519"/>
                  <a:pt x="6768663" y="3113850"/>
                  <a:pt x="6769975" y="3108220"/>
                </a:cubicBezTo>
                <a:cubicBezTo>
                  <a:pt x="6769933" y="3076892"/>
                  <a:pt x="6772382" y="3046007"/>
                  <a:pt x="6777439" y="3015763"/>
                </a:cubicBezTo>
                <a:lnTo>
                  <a:pt x="6777979" y="3009073"/>
                </a:lnTo>
                <a:cubicBezTo>
                  <a:pt x="6778148" y="3009068"/>
                  <a:pt x="6778317" y="3009063"/>
                  <a:pt x="6778485" y="3009010"/>
                </a:cubicBezTo>
                <a:cubicBezTo>
                  <a:pt x="6828761" y="2656144"/>
                  <a:pt x="7109800" y="2375367"/>
                  <a:pt x="7468650" y="2315969"/>
                </a:cubicBezTo>
                <a:lnTo>
                  <a:pt x="7468767" y="2314821"/>
                </a:lnTo>
                <a:cubicBezTo>
                  <a:pt x="7474076" y="2313811"/>
                  <a:pt x="7479404" y="2312863"/>
                  <a:pt x="7484980" y="2313282"/>
                </a:cubicBezTo>
                <a:cubicBezTo>
                  <a:pt x="7516163" y="2307725"/>
                  <a:pt x="7548056" y="2304744"/>
                  <a:pt x="7580442" y="2304217"/>
                </a:cubicBezTo>
                <a:close/>
                <a:moveTo>
                  <a:pt x="5928129" y="2302594"/>
                </a:moveTo>
                <a:lnTo>
                  <a:pt x="5945217" y="2304217"/>
                </a:lnTo>
                <a:cubicBezTo>
                  <a:pt x="5977602" y="2304744"/>
                  <a:pt x="6009495" y="2307725"/>
                  <a:pt x="6040678" y="2313282"/>
                </a:cubicBezTo>
                <a:cubicBezTo>
                  <a:pt x="6046254" y="2312863"/>
                  <a:pt x="6051582" y="2313811"/>
                  <a:pt x="6056891" y="2314821"/>
                </a:cubicBezTo>
                <a:lnTo>
                  <a:pt x="6057008" y="2315969"/>
                </a:lnTo>
                <a:cubicBezTo>
                  <a:pt x="6415858" y="2375367"/>
                  <a:pt x="6696897" y="2656144"/>
                  <a:pt x="6747174" y="3009010"/>
                </a:cubicBezTo>
                <a:cubicBezTo>
                  <a:pt x="6747341" y="3009063"/>
                  <a:pt x="6747511" y="3009068"/>
                  <a:pt x="6747679" y="3009073"/>
                </a:cubicBezTo>
                <a:lnTo>
                  <a:pt x="6748220" y="3015763"/>
                </a:lnTo>
                <a:cubicBezTo>
                  <a:pt x="6753276" y="3046007"/>
                  <a:pt x="6755726" y="3076892"/>
                  <a:pt x="6755684" y="3108220"/>
                </a:cubicBezTo>
                <a:cubicBezTo>
                  <a:pt x="6756996" y="3113850"/>
                  <a:pt x="6757054" y="3119519"/>
                  <a:pt x="6757054" y="3125201"/>
                </a:cubicBezTo>
                <a:cubicBezTo>
                  <a:pt x="6757054" y="3129023"/>
                  <a:pt x="6757027" y="3132839"/>
                  <a:pt x="6756461" y="3136641"/>
                </a:cubicBezTo>
                <a:lnTo>
                  <a:pt x="6755962" y="3136608"/>
                </a:lnTo>
                <a:lnTo>
                  <a:pt x="6755936" y="3137103"/>
                </a:lnTo>
                <a:lnTo>
                  <a:pt x="6738818" y="3135477"/>
                </a:lnTo>
                <a:cubicBezTo>
                  <a:pt x="6706444" y="3134950"/>
                  <a:pt x="6674563" y="3131969"/>
                  <a:pt x="6643391" y="3126415"/>
                </a:cubicBezTo>
                <a:cubicBezTo>
                  <a:pt x="6637814" y="3126834"/>
                  <a:pt x="6632485" y="3125886"/>
                  <a:pt x="6627175" y="3124875"/>
                </a:cubicBezTo>
                <a:lnTo>
                  <a:pt x="6627059" y="3123727"/>
                </a:lnTo>
                <a:cubicBezTo>
                  <a:pt x="6268207" y="3064328"/>
                  <a:pt x="5987168" y="2783551"/>
                  <a:pt x="5936893" y="2430686"/>
                </a:cubicBezTo>
                <a:cubicBezTo>
                  <a:pt x="5936725" y="2430633"/>
                  <a:pt x="5936557" y="2430628"/>
                  <a:pt x="5936387" y="2430623"/>
                </a:cubicBezTo>
                <a:lnTo>
                  <a:pt x="5935849" y="2423947"/>
                </a:lnTo>
                <a:cubicBezTo>
                  <a:pt x="5930790" y="2393697"/>
                  <a:pt x="5928340" y="2362806"/>
                  <a:pt x="5928382" y="2331471"/>
                </a:cubicBezTo>
                <a:cubicBezTo>
                  <a:pt x="5927070" y="2325843"/>
                  <a:pt x="5927011" y="2320176"/>
                  <a:pt x="5927011" y="2314495"/>
                </a:cubicBezTo>
                <a:lnTo>
                  <a:pt x="5927605" y="2303055"/>
                </a:lnTo>
                <a:lnTo>
                  <a:pt x="5928103" y="2303088"/>
                </a:lnTo>
                <a:close/>
                <a:moveTo>
                  <a:pt x="5905378" y="2302594"/>
                </a:moveTo>
                <a:lnTo>
                  <a:pt x="5905404" y="2303088"/>
                </a:lnTo>
                <a:lnTo>
                  <a:pt x="5905902" y="2303055"/>
                </a:lnTo>
                <a:lnTo>
                  <a:pt x="5906496" y="2314495"/>
                </a:lnTo>
                <a:cubicBezTo>
                  <a:pt x="5906496" y="2320176"/>
                  <a:pt x="5906438" y="2325843"/>
                  <a:pt x="5905126" y="2331471"/>
                </a:cubicBezTo>
                <a:cubicBezTo>
                  <a:pt x="5905168" y="2362806"/>
                  <a:pt x="5902717" y="2393697"/>
                  <a:pt x="5897659" y="2423947"/>
                </a:cubicBezTo>
                <a:lnTo>
                  <a:pt x="5897120" y="2430623"/>
                </a:lnTo>
                <a:cubicBezTo>
                  <a:pt x="5896951" y="2430628"/>
                  <a:pt x="5896782" y="2430633"/>
                  <a:pt x="5896615" y="2430686"/>
                </a:cubicBezTo>
                <a:cubicBezTo>
                  <a:pt x="5846339" y="2783551"/>
                  <a:pt x="5565300" y="3064328"/>
                  <a:pt x="5206449" y="3123727"/>
                </a:cubicBezTo>
                <a:lnTo>
                  <a:pt x="5206334" y="3124875"/>
                </a:lnTo>
                <a:cubicBezTo>
                  <a:pt x="5201022" y="3125886"/>
                  <a:pt x="5195693" y="3126834"/>
                  <a:pt x="5190116" y="3126415"/>
                </a:cubicBezTo>
                <a:cubicBezTo>
                  <a:pt x="5158944" y="3131969"/>
                  <a:pt x="5127065" y="3134950"/>
                  <a:pt x="5094690" y="3135477"/>
                </a:cubicBezTo>
                <a:lnTo>
                  <a:pt x="5077571" y="3137103"/>
                </a:lnTo>
                <a:lnTo>
                  <a:pt x="5077545" y="3136608"/>
                </a:lnTo>
                <a:lnTo>
                  <a:pt x="5077046" y="3136641"/>
                </a:lnTo>
                <a:cubicBezTo>
                  <a:pt x="5076480" y="3132839"/>
                  <a:pt x="5076453" y="3129023"/>
                  <a:pt x="5076453" y="3125201"/>
                </a:cubicBezTo>
                <a:cubicBezTo>
                  <a:pt x="5076453" y="3119519"/>
                  <a:pt x="5076512" y="3113850"/>
                  <a:pt x="5077824" y="3108220"/>
                </a:cubicBezTo>
                <a:cubicBezTo>
                  <a:pt x="5077782" y="3076892"/>
                  <a:pt x="5080231" y="3046007"/>
                  <a:pt x="5085288" y="3015763"/>
                </a:cubicBezTo>
                <a:lnTo>
                  <a:pt x="5085828" y="3009073"/>
                </a:lnTo>
                <a:cubicBezTo>
                  <a:pt x="5085997" y="3009068"/>
                  <a:pt x="5086166" y="3009063"/>
                  <a:pt x="5086334" y="3009010"/>
                </a:cubicBezTo>
                <a:cubicBezTo>
                  <a:pt x="5136610" y="2656144"/>
                  <a:pt x="5417649" y="2375367"/>
                  <a:pt x="5776501" y="2315969"/>
                </a:cubicBezTo>
                <a:lnTo>
                  <a:pt x="5776617" y="2314821"/>
                </a:lnTo>
                <a:cubicBezTo>
                  <a:pt x="5781926" y="2313811"/>
                  <a:pt x="5787253" y="2312863"/>
                  <a:pt x="5792829" y="2313282"/>
                </a:cubicBezTo>
                <a:cubicBezTo>
                  <a:pt x="5824013" y="2307725"/>
                  <a:pt x="5855905" y="2304744"/>
                  <a:pt x="5888291" y="2304217"/>
                </a:cubicBezTo>
                <a:close/>
                <a:moveTo>
                  <a:pt x="4235979" y="2302594"/>
                </a:moveTo>
                <a:lnTo>
                  <a:pt x="4253065" y="2304217"/>
                </a:lnTo>
                <a:cubicBezTo>
                  <a:pt x="4285451" y="2304744"/>
                  <a:pt x="4317343" y="2307725"/>
                  <a:pt x="4348528" y="2313282"/>
                </a:cubicBezTo>
                <a:cubicBezTo>
                  <a:pt x="4354104" y="2312863"/>
                  <a:pt x="4359431" y="2313811"/>
                  <a:pt x="4364739" y="2314821"/>
                </a:cubicBezTo>
                <a:lnTo>
                  <a:pt x="4364856" y="2315969"/>
                </a:lnTo>
                <a:cubicBezTo>
                  <a:pt x="4723707" y="2375367"/>
                  <a:pt x="5004746" y="2656144"/>
                  <a:pt x="5055022" y="3009010"/>
                </a:cubicBezTo>
                <a:cubicBezTo>
                  <a:pt x="5055190" y="3009063"/>
                  <a:pt x="5055359" y="3009068"/>
                  <a:pt x="5055528" y="3009073"/>
                </a:cubicBezTo>
                <a:lnTo>
                  <a:pt x="5056068" y="3015763"/>
                </a:lnTo>
                <a:cubicBezTo>
                  <a:pt x="5061125" y="3046007"/>
                  <a:pt x="5063574" y="3076892"/>
                  <a:pt x="5063532" y="3108220"/>
                </a:cubicBezTo>
                <a:cubicBezTo>
                  <a:pt x="5064844" y="3113850"/>
                  <a:pt x="5064903" y="3119519"/>
                  <a:pt x="5064903" y="3125201"/>
                </a:cubicBezTo>
                <a:cubicBezTo>
                  <a:pt x="5064903" y="3129023"/>
                  <a:pt x="5064876" y="3132839"/>
                  <a:pt x="5064310" y="3136641"/>
                </a:cubicBezTo>
                <a:lnTo>
                  <a:pt x="5063811" y="3136608"/>
                </a:lnTo>
                <a:lnTo>
                  <a:pt x="5063785" y="3137103"/>
                </a:lnTo>
                <a:lnTo>
                  <a:pt x="5046666" y="3135477"/>
                </a:lnTo>
                <a:cubicBezTo>
                  <a:pt x="5014292" y="3134950"/>
                  <a:pt x="4982412" y="3131969"/>
                  <a:pt x="4951241" y="3126415"/>
                </a:cubicBezTo>
                <a:cubicBezTo>
                  <a:pt x="4945663" y="3126834"/>
                  <a:pt x="4940334" y="3125886"/>
                  <a:pt x="4935023" y="3124875"/>
                </a:cubicBezTo>
                <a:lnTo>
                  <a:pt x="4934907" y="3123727"/>
                </a:lnTo>
                <a:cubicBezTo>
                  <a:pt x="4576056" y="3064328"/>
                  <a:pt x="4295017" y="2783551"/>
                  <a:pt x="4244741" y="2430686"/>
                </a:cubicBezTo>
                <a:cubicBezTo>
                  <a:pt x="4244574" y="2430633"/>
                  <a:pt x="4244405" y="2430628"/>
                  <a:pt x="4244236" y="2430623"/>
                </a:cubicBezTo>
                <a:lnTo>
                  <a:pt x="4243697" y="2423947"/>
                </a:lnTo>
                <a:cubicBezTo>
                  <a:pt x="4238639" y="2393697"/>
                  <a:pt x="4236188" y="2362806"/>
                  <a:pt x="4236230" y="2331471"/>
                </a:cubicBezTo>
                <a:cubicBezTo>
                  <a:pt x="4234918" y="2325843"/>
                  <a:pt x="4234860" y="2320176"/>
                  <a:pt x="4234860" y="2314495"/>
                </a:cubicBezTo>
                <a:lnTo>
                  <a:pt x="4235454" y="2303055"/>
                </a:lnTo>
                <a:lnTo>
                  <a:pt x="4235952" y="2303088"/>
                </a:lnTo>
                <a:close/>
                <a:moveTo>
                  <a:pt x="4213227" y="2302594"/>
                </a:moveTo>
                <a:lnTo>
                  <a:pt x="4213253" y="2303088"/>
                </a:lnTo>
                <a:lnTo>
                  <a:pt x="4213751" y="2303055"/>
                </a:lnTo>
                <a:lnTo>
                  <a:pt x="4214345" y="2314495"/>
                </a:lnTo>
                <a:cubicBezTo>
                  <a:pt x="4214345" y="2320176"/>
                  <a:pt x="4214286" y="2325843"/>
                  <a:pt x="4212974" y="2331471"/>
                </a:cubicBezTo>
                <a:cubicBezTo>
                  <a:pt x="4213016" y="2362806"/>
                  <a:pt x="4210566" y="2393697"/>
                  <a:pt x="4205507" y="2423947"/>
                </a:cubicBezTo>
                <a:lnTo>
                  <a:pt x="4204969" y="2430623"/>
                </a:lnTo>
                <a:cubicBezTo>
                  <a:pt x="4204799" y="2430628"/>
                  <a:pt x="4204631" y="2430633"/>
                  <a:pt x="4204463" y="2430686"/>
                </a:cubicBezTo>
                <a:cubicBezTo>
                  <a:pt x="4154188" y="2783551"/>
                  <a:pt x="3873149" y="3064328"/>
                  <a:pt x="3514297" y="3123727"/>
                </a:cubicBezTo>
                <a:lnTo>
                  <a:pt x="3514181" y="3124875"/>
                </a:lnTo>
                <a:cubicBezTo>
                  <a:pt x="3508871" y="3125886"/>
                  <a:pt x="3503542" y="3126834"/>
                  <a:pt x="3497965" y="3126415"/>
                </a:cubicBezTo>
                <a:cubicBezTo>
                  <a:pt x="3466793" y="3131969"/>
                  <a:pt x="3434912" y="3134950"/>
                  <a:pt x="3402538" y="3135477"/>
                </a:cubicBezTo>
                <a:lnTo>
                  <a:pt x="3385420" y="3137103"/>
                </a:lnTo>
                <a:lnTo>
                  <a:pt x="3385394" y="3136608"/>
                </a:lnTo>
                <a:lnTo>
                  <a:pt x="3384895" y="3136641"/>
                </a:lnTo>
                <a:cubicBezTo>
                  <a:pt x="3384329" y="3132839"/>
                  <a:pt x="3384302" y="3129023"/>
                  <a:pt x="3384302" y="3125201"/>
                </a:cubicBezTo>
                <a:cubicBezTo>
                  <a:pt x="3384302" y="3119519"/>
                  <a:pt x="3384360" y="3113850"/>
                  <a:pt x="3385672" y="3108220"/>
                </a:cubicBezTo>
                <a:cubicBezTo>
                  <a:pt x="3385630" y="3076892"/>
                  <a:pt x="3388080" y="3046007"/>
                  <a:pt x="3393136" y="3015763"/>
                </a:cubicBezTo>
                <a:lnTo>
                  <a:pt x="3393677" y="3009073"/>
                </a:lnTo>
                <a:cubicBezTo>
                  <a:pt x="3393845" y="3009068"/>
                  <a:pt x="3394015" y="3009063"/>
                  <a:pt x="3394182" y="3009010"/>
                </a:cubicBezTo>
                <a:cubicBezTo>
                  <a:pt x="3444459" y="2656144"/>
                  <a:pt x="3725498" y="2375367"/>
                  <a:pt x="4084348" y="2315969"/>
                </a:cubicBezTo>
                <a:lnTo>
                  <a:pt x="4084465" y="2314821"/>
                </a:lnTo>
                <a:cubicBezTo>
                  <a:pt x="4089774" y="2313811"/>
                  <a:pt x="4095102" y="2312863"/>
                  <a:pt x="4100678" y="2313282"/>
                </a:cubicBezTo>
                <a:cubicBezTo>
                  <a:pt x="4131861" y="2307725"/>
                  <a:pt x="4163754" y="2304744"/>
                  <a:pt x="4196139" y="2304217"/>
                </a:cubicBezTo>
                <a:close/>
                <a:moveTo>
                  <a:pt x="2543827" y="2302594"/>
                </a:moveTo>
                <a:lnTo>
                  <a:pt x="2560914" y="2304217"/>
                </a:lnTo>
                <a:cubicBezTo>
                  <a:pt x="2593300" y="2304744"/>
                  <a:pt x="2625192" y="2307725"/>
                  <a:pt x="2656376" y="2313282"/>
                </a:cubicBezTo>
                <a:cubicBezTo>
                  <a:pt x="2661952" y="2312863"/>
                  <a:pt x="2667280" y="2313811"/>
                  <a:pt x="2672588" y="2314821"/>
                </a:cubicBezTo>
                <a:lnTo>
                  <a:pt x="2672706" y="2315969"/>
                </a:lnTo>
                <a:cubicBezTo>
                  <a:pt x="3031556" y="2375367"/>
                  <a:pt x="3312595" y="2656144"/>
                  <a:pt x="3362871" y="3009010"/>
                </a:cubicBezTo>
                <a:cubicBezTo>
                  <a:pt x="3363039" y="3009063"/>
                  <a:pt x="3363208" y="3009068"/>
                  <a:pt x="3363377" y="3009073"/>
                </a:cubicBezTo>
                <a:lnTo>
                  <a:pt x="3363917" y="3015763"/>
                </a:lnTo>
                <a:cubicBezTo>
                  <a:pt x="3368974" y="3046007"/>
                  <a:pt x="3371423" y="3076892"/>
                  <a:pt x="3371381" y="3108220"/>
                </a:cubicBezTo>
                <a:cubicBezTo>
                  <a:pt x="3372693" y="3113850"/>
                  <a:pt x="3372752" y="3119519"/>
                  <a:pt x="3372752" y="3125201"/>
                </a:cubicBezTo>
                <a:cubicBezTo>
                  <a:pt x="3372752" y="3129023"/>
                  <a:pt x="3372725" y="3132839"/>
                  <a:pt x="3372159" y="3136641"/>
                </a:cubicBezTo>
                <a:lnTo>
                  <a:pt x="3371660" y="3136608"/>
                </a:lnTo>
                <a:lnTo>
                  <a:pt x="3371634" y="3137103"/>
                </a:lnTo>
                <a:lnTo>
                  <a:pt x="3354515" y="3135477"/>
                </a:lnTo>
                <a:cubicBezTo>
                  <a:pt x="3322141" y="3134950"/>
                  <a:pt x="3290261" y="3131969"/>
                  <a:pt x="3259089" y="3126415"/>
                </a:cubicBezTo>
                <a:cubicBezTo>
                  <a:pt x="3253512" y="3126834"/>
                  <a:pt x="3248183" y="3125886"/>
                  <a:pt x="3242872" y="3124875"/>
                </a:cubicBezTo>
                <a:lnTo>
                  <a:pt x="3242756" y="3123727"/>
                </a:lnTo>
                <a:cubicBezTo>
                  <a:pt x="2883905" y="3064328"/>
                  <a:pt x="2602866" y="2783551"/>
                  <a:pt x="2552590" y="2430686"/>
                </a:cubicBezTo>
                <a:cubicBezTo>
                  <a:pt x="2552423" y="2430633"/>
                  <a:pt x="2552254" y="2430628"/>
                  <a:pt x="2552085" y="2430623"/>
                </a:cubicBezTo>
                <a:lnTo>
                  <a:pt x="2551547" y="2423947"/>
                </a:lnTo>
                <a:cubicBezTo>
                  <a:pt x="2546488" y="2393697"/>
                  <a:pt x="2544037" y="2362806"/>
                  <a:pt x="2544079" y="2331471"/>
                </a:cubicBezTo>
                <a:cubicBezTo>
                  <a:pt x="2542767" y="2325843"/>
                  <a:pt x="2542709" y="2320176"/>
                  <a:pt x="2542709" y="2314495"/>
                </a:cubicBezTo>
                <a:lnTo>
                  <a:pt x="2543303" y="2303055"/>
                </a:lnTo>
                <a:lnTo>
                  <a:pt x="2543801" y="2303088"/>
                </a:lnTo>
                <a:close/>
                <a:moveTo>
                  <a:pt x="2521076" y="2302594"/>
                </a:moveTo>
                <a:lnTo>
                  <a:pt x="2521102" y="2303088"/>
                </a:lnTo>
                <a:lnTo>
                  <a:pt x="2521600" y="2303055"/>
                </a:lnTo>
                <a:lnTo>
                  <a:pt x="2522194" y="2314495"/>
                </a:lnTo>
                <a:cubicBezTo>
                  <a:pt x="2522194" y="2320176"/>
                  <a:pt x="2522135" y="2325843"/>
                  <a:pt x="2520823" y="2331471"/>
                </a:cubicBezTo>
                <a:cubicBezTo>
                  <a:pt x="2520865" y="2362806"/>
                  <a:pt x="2518415" y="2393697"/>
                  <a:pt x="2513356" y="2423947"/>
                </a:cubicBezTo>
                <a:lnTo>
                  <a:pt x="2512818" y="2430623"/>
                </a:lnTo>
                <a:cubicBezTo>
                  <a:pt x="2512648" y="2430628"/>
                  <a:pt x="2512480" y="2430633"/>
                  <a:pt x="2512312" y="2430686"/>
                </a:cubicBezTo>
                <a:cubicBezTo>
                  <a:pt x="2462037" y="2783551"/>
                  <a:pt x="2180998" y="3064328"/>
                  <a:pt x="1822147" y="3123727"/>
                </a:cubicBezTo>
                <a:lnTo>
                  <a:pt x="1822030" y="3124875"/>
                </a:lnTo>
                <a:cubicBezTo>
                  <a:pt x="1816720" y="3125886"/>
                  <a:pt x="1811391" y="3126834"/>
                  <a:pt x="1805814" y="3126415"/>
                </a:cubicBezTo>
                <a:cubicBezTo>
                  <a:pt x="1774642" y="3131969"/>
                  <a:pt x="1742762" y="3134950"/>
                  <a:pt x="1710387" y="3135477"/>
                </a:cubicBezTo>
                <a:lnTo>
                  <a:pt x="1693269" y="3137103"/>
                </a:lnTo>
                <a:lnTo>
                  <a:pt x="1693243" y="3136608"/>
                </a:lnTo>
                <a:lnTo>
                  <a:pt x="1692744" y="3136641"/>
                </a:lnTo>
                <a:cubicBezTo>
                  <a:pt x="1692178" y="3132839"/>
                  <a:pt x="1692151" y="3129023"/>
                  <a:pt x="1692151" y="3125201"/>
                </a:cubicBezTo>
                <a:cubicBezTo>
                  <a:pt x="1692151" y="3119519"/>
                  <a:pt x="1692209" y="3113850"/>
                  <a:pt x="1693521" y="3108220"/>
                </a:cubicBezTo>
                <a:cubicBezTo>
                  <a:pt x="1693479" y="3076892"/>
                  <a:pt x="1695929" y="3046007"/>
                  <a:pt x="1700985" y="3015763"/>
                </a:cubicBezTo>
                <a:lnTo>
                  <a:pt x="1701526" y="3009073"/>
                </a:lnTo>
                <a:cubicBezTo>
                  <a:pt x="1701694" y="3009068"/>
                  <a:pt x="1701864" y="3009063"/>
                  <a:pt x="1702031" y="3009010"/>
                </a:cubicBezTo>
                <a:cubicBezTo>
                  <a:pt x="1752308" y="2656144"/>
                  <a:pt x="2033347" y="2375367"/>
                  <a:pt x="2392197" y="2315969"/>
                </a:cubicBezTo>
                <a:lnTo>
                  <a:pt x="2392314" y="2314821"/>
                </a:lnTo>
                <a:cubicBezTo>
                  <a:pt x="2397623" y="2313811"/>
                  <a:pt x="2402951" y="2312863"/>
                  <a:pt x="2408527" y="2313282"/>
                </a:cubicBezTo>
                <a:cubicBezTo>
                  <a:pt x="2439710" y="2307725"/>
                  <a:pt x="2471603" y="2304744"/>
                  <a:pt x="2503988" y="2304217"/>
                </a:cubicBezTo>
                <a:close/>
                <a:moveTo>
                  <a:pt x="851676" y="2302594"/>
                </a:moveTo>
                <a:lnTo>
                  <a:pt x="868763" y="2304217"/>
                </a:lnTo>
                <a:cubicBezTo>
                  <a:pt x="901149" y="2304744"/>
                  <a:pt x="933041" y="2307725"/>
                  <a:pt x="964225" y="2313282"/>
                </a:cubicBezTo>
                <a:cubicBezTo>
                  <a:pt x="969801" y="2312863"/>
                  <a:pt x="975129" y="2313811"/>
                  <a:pt x="980437" y="2314821"/>
                </a:cubicBezTo>
                <a:lnTo>
                  <a:pt x="980555" y="2315969"/>
                </a:lnTo>
                <a:cubicBezTo>
                  <a:pt x="1339405" y="2375367"/>
                  <a:pt x="1620444" y="2656144"/>
                  <a:pt x="1670720" y="3009010"/>
                </a:cubicBezTo>
                <a:cubicBezTo>
                  <a:pt x="1670888" y="3009063"/>
                  <a:pt x="1671057" y="3009068"/>
                  <a:pt x="1671226" y="3009073"/>
                </a:cubicBezTo>
                <a:lnTo>
                  <a:pt x="1671766" y="3015763"/>
                </a:lnTo>
                <a:cubicBezTo>
                  <a:pt x="1676823" y="3046007"/>
                  <a:pt x="1679272" y="3076892"/>
                  <a:pt x="1679230" y="3108220"/>
                </a:cubicBezTo>
                <a:cubicBezTo>
                  <a:pt x="1680542" y="3113850"/>
                  <a:pt x="1680601" y="3119519"/>
                  <a:pt x="1680601" y="3125201"/>
                </a:cubicBezTo>
                <a:cubicBezTo>
                  <a:pt x="1680601" y="3129023"/>
                  <a:pt x="1680574" y="3132839"/>
                  <a:pt x="1680008" y="3136641"/>
                </a:cubicBezTo>
                <a:lnTo>
                  <a:pt x="1679509" y="3136608"/>
                </a:lnTo>
                <a:lnTo>
                  <a:pt x="1679483" y="3137103"/>
                </a:lnTo>
                <a:lnTo>
                  <a:pt x="1662364" y="3135477"/>
                </a:lnTo>
                <a:cubicBezTo>
                  <a:pt x="1629990" y="3134950"/>
                  <a:pt x="1598110" y="3131969"/>
                  <a:pt x="1566938" y="3126415"/>
                </a:cubicBezTo>
                <a:cubicBezTo>
                  <a:pt x="1561361" y="3126834"/>
                  <a:pt x="1556032" y="3125886"/>
                  <a:pt x="1550721" y="3124875"/>
                </a:cubicBezTo>
                <a:lnTo>
                  <a:pt x="1550605" y="3123727"/>
                </a:lnTo>
                <a:cubicBezTo>
                  <a:pt x="1191754" y="3064328"/>
                  <a:pt x="910715" y="2783551"/>
                  <a:pt x="860439" y="2430686"/>
                </a:cubicBezTo>
                <a:cubicBezTo>
                  <a:pt x="860272" y="2430633"/>
                  <a:pt x="860103" y="2430628"/>
                  <a:pt x="859934" y="2430623"/>
                </a:cubicBezTo>
                <a:lnTo>
                  <a:pt x="859396" y="2423947"/>
                </a:lnTo>
                <a:cubicBezTo>
                  <a:pt x="854337" y="2393697"/>
                  <a:pt x="851886" y="2362806"/>
                  <a:pt x="851928" y="2331471"/>
                </a:cubicBezTo>
                <a:cubicBezTo>
                  <a:pt x="850616" y="2325843"/>
                  <a:pt x="850558" y="2320176"/>
                  <a:pt x="850558" y="2314495"/>
                </a:cubicBezTo>
                <a:lnTo>
                  <a:pt x="851152" y="2303055"/>
                </a:lnTo>
                <a:lnTo>
                  <a:pt x="851650" y="2303088"/>
                </a:lnTo>
                <a:close/>
                <a:moveTo>
                  <a:pt x="828925" y="2302594"/>
                </a:moveTo>
                <a:lnTo>
                  <a:pt x="828951" y="2303088"/>
                </a:lnTo>
                <a:lnTo>
                  <a:pt x="829449" y="2303055"/>
                </a:lnTo>
                <a:lnTo>
                  <a:pt x="830043" y="2314495"/>
                </a:lnTo>
                <a:cubicBezTo>
                  <a:pt x="830043" y="2320176"/>
                  <a:pt x="829984" y="2325843"/>
                  <a:pt x="828672" y="2331471"/>
                </a:cubicBezTo>
                <a:cubicBezTo>
                  <a:pt x="828714" y="2362806"/>
                  <a:pt x="826264" y="2393697"/>
                  <a:pt x="821205" y="2423947"/>
                </a:cubicBezTo>
                <a:lnTo>
                  <a:pt x="820667" y="2430623"/>
                </a:lnTo>
                <a:cubicBezTo>
                  <a:pt x="820497" y="2430628"/>
                  <a:pt x="820329" y="2430633"/>
                  <a:pt x="820161" y="2430686"/>
                </a:cubicBezTo>
                <a:cubicBezTo>
                  <a:pt x="769886" y="2783551"/>
                  <a:pt x="488847" y="3064328"/>
                  <a:pt x="129995" y="3123727"/>
                </a:cubicBezTo>
                <a:lnTo>
                  <a:pt x="129879" y="3124875"/>
                </a:lnTo>
                <a:cubicBezTo>
                  <a:pt x="124569" y="3125886"/>
                  <a:pt x="119240" y="3126834"/>
                  <a:pt x="113663" y="3126415"/>
                </a:cubicBezTo>
                <a:cubicBezTo>
                  <a:pt x="82491" y="3131969"/>
                  <a:pt x="50611" y="3134950"/>
                  <a:pt x="18236" y="3135477"/>
                </a:cubicBezTo>
                <a:lnTo>
                  <a:pt x="1118" y="3137103"/>
                </a:lnTo>
                <a:lnTo>
                  <a:pt x="1092" y="3136608"/>
                </a:lnTo>
                <a:lnTo>
                  <a:pt x="593" y="3136641"/>
                </a:lnTo>
                <a:cubicBezTo>
                  <a:pt x="27" y="3132839"/>
                  <a:pt x="0" y="3129023"/>
                  <a:pt x="0" y="3125201"/>
                </a:cubicBezTo>
                <a:cubicBezTo>
                  <a:pt x="0" y="3119519"/>
                  <a:pt x="58" y="3113850"/>
                  <a:pt x="1370" y="3108220"/>
                </a:cubicBezTo>
                <a:cubicBezTo>
                  <a:pt x="1328" y="3076892"/>
                  <a:pt x="3778" y="3046007"/>
                  <a:pt x="8835" y="3015763"/>
                </a:cubicBezTo>
                <a:lnTo>
                  <a:pt x="9375" y="3009073"/>
                </a:lnTo>
                <a:cubicBezTo>
                  <a:pt x="9543" y="3009068"/>
                  <a:pt x="9713" y="3009063"/>
                  <a:pt x="9880" y="3009010"/>
                </a:cubicBezTo>
                <a:cubicBezTo>
                  <a:pt x="60157" y="2656144"/>
                  <a:pt x="341196" y="2375367"/>
                  <a:pt x="700046" y="2315969"/>
                </a:cubicBezTo>
                <a:lnTo>
                  <a:pt x="700163" y="2314821"/>
                </a:lnTo>
                <a:cubicBezTo>
                  <a:pt x="705472" y="2313811"/>
                  <a:pt x="710800" y="2312863"/>
                  <a:pt x="716376" y="2313282"/>
                </a:cubicBezTo>
                <a:cubicBezTo>
                  <a:pt x="747559" y="2307725"/>
                  <a:pt x="779452" y="2304744"/>
                  <a:pt x="811837" y="2304217"/>
                </a:cubicBezTo>
                <a:close/>
                <a:moveTo>
                  <a:pt x="8305836" y="1608087"/>
                </a:moveTo>
                <a:cubicBezTo>
                  <a:pt x="8030646" y="1666766"/>
                  <a:pt x="7815802" y="1879876"/>
                  <a:pt x="7762527" y="2148655"/>
                </a:cubicBezTo>
                <a:cubicBezTo>
                  <a:pt x="8037717" y="2089976"/>
                  <a:pt x="8252560" y="1876866"/>
                  <a:pt x="8305836" y="1608087"/>
                </a:cubicBezTo>
                <a:close/>
                <a:moveTo>
                  <a:pt x="6911971" y="1608087"/>
                </a:moveTo>
                <a:cubicBezTo>
                  <a:pt x="6965247" y="1876866"/>
                  <a:pt x="7180090" y="2089976"/>
                  <a:pt x="7455280" y="2148655"/>
                </a:cubicBezTo>
                <a:cubicBezTo>
                  <a:pt x="7402005" y="1879876"/>
                  <a:pt x="7187161" y="1666766"/>
                  <a:pt x="6911971" y="1608087"/>
                </a:cubicBezTo>
                <a:close/>
                <a:moveTo>
                  <a:pt x="6613685" y="1608087"/>
                </a:moveTo>
                <a:cubicBezTo>
                  <a:pt x="6338495" y="1666766"/>
                  <a:pt x="6123651" y="1879876"/>
                  <a:pt x="6070376" y="2148655"/>
                </a:cubicBezTo>
                <a:cubicBezTo>
                  <a:pt x="6345566" y="2089976"/>
                  <a:pt x="6560409" y="1876866"/>
                  <a:pt x="6613685" y="1608087"/>
                </a:cubicBezTo>
                <a:close/>
                <a:moveTo>
                  <a:pt x="5219820" y="1608087"/>
                </a:moveTo>
                <a:cubicBezTo>
                  <a:pt x="5273096" y="1876866"/>
                  <a:pt x="5487939" y="2089976"/>
                  <a:pt x="5763129" y="2148655"/>
                </a:cubicBezTo>
                <a:cubicBezTo>
                  <a:pt x="5709854" y="1879876"/>
                  <a:pt x="5495010" y="1666766"/>
                  <a:pt x="5219820" y="1608087"/>
                </a:cubicBezTo>
                <a:close/>
                <a:moveTo>
                  <a:pt x="4921534" y="1608087"/>
                </a:moveTo>
                <a:cubicBezTo>
                  <a:pt x="4646344" y="1666766"/>
                  <a:pt x="4431500" y="1879876"/>
                  <a:pt x="4378225" y="2148655"/>
                </a:cubicBezTo>
                <a:cubicBezTo>
                  <a:pt x="4653415" y="2089976"/>
                  <a:pt x="4868259" y="1876866"/>
                  <a:pt x="4921534" y="1608087"/>
                </a:cubicBezTo>
                <a:close/>
                <a:moveTo>
                  <a:pt x="3527669" y="1608087"/>
                </a:moveTo>
                <a:cubicBezTo>
                  <a:pt x="3580945" y="1876866"/>
                  <a:pt x="3795788" y="2089976"/>
                  <a:pt x="4070978" y="2148655"/>
                </a:cubicBezTo>
                <a:cubicBezTo>
                  <a:pt x="4017703" y="1879876"/>
                  <a:pt x="3802859" y="1666766"/>
                  <a:pt x="3527669" y="1608087"/>
                </a:cubicBezTo>
                <a:close/>
                <a:moveTo>
                  <a:pt x="3229383" y="1608087"/>
                </a:moveTo>
                <a:cubicBezTo>
                  <a:pt x="2954193" y="1666766"/>
                  <a:pt x="2739349" y="1879876"/>
                  <a:pt x="2686074" y="2148655"/>
                </a:cubicBezTo>
                <a:cubicBezTo>
                  <a:pt x="2961264" y="2089976"/>
                  <a:pt x="3176107" y="1876866"/>
                  <a:pt x="3229383" y="1608087"/>
                </a:cubicBezTo>
                <a:close/>
                <a:moveTo>
                  <a:pt x="1835518" y="1608087"/>
                </a:moveTo>
                <a:cubicBezTo>
                  <a:pt x="1888794" y="1876866"/>
                  <a:pt x="2103637" y="2089976"/>
                  <a:pt x="2378827" y="2148655"/>
                </a:cubicBezTo>
                <a:cubicBezTo>
                  <a:pt x="2325552" y="1879876"/>
                  <a:pt x="2110708" y="1666766"/>
                  <a:pt x="1835518" y="1608087"/>
                </a:cubicBezTo>
                <a:close/>
                <a:moveTo>
                  <a:pt x="1537232" y="1608087"/>
                </a:moveTo>
                <a:cubicBezTo>
                  <a:pt x="1262042" y="1666766"/>
                  <a:pt x="1047198" y="1879876"/>
                  <a:pt x="993923" y="2148655"/>
                </a:cubicBezTo>
                <a:cubicBezTo>
                  <a:pt x="1269113" y="2089976"/>
                  <a:pt x="1483956" y="1876866"/>
                  <a:pt x="1537232" y="1608087"/>
                </a:cubicBezTo>
                <a:close/>
                <a:moveTo>
                  <a:pt x="143367" y="1608087"/>
                </a:moveTo>
                <a:cubicBezTo>
                  <a:pt x="196643" y="1876866"/>
                  <a:pt x="411486" y="2089976"/>
                  <a:pt x="686676" y="2148655"/>
                </a:cubicBezTo>
                <a:cubicBezTo>
                  <a:pt x="633401" y="1879876"/>
                  <a:pt x="418557" y="1666766"/>
                  <a:pt x="143367" y="1608087"/>
                </a:cubicBezTo>
                <a:close/>
                <a:moveTo>
                  <a:pt x="8461873" y="1464394"/>
                </a:moveTo>
                <a:lnTo>
                  <a:pt x="8478960" y="1466004"/>
                </a:lnTo>
                <a:cubicBezTo>
                  <a:pt x="8511346" y="1466527"/>
                  <a:pt x="8543239" y="1469485"/>
                  <a:pt x="8574422" y="1474998"/>
                </a:cubicBezTo>
                <a:cubicBezTo>
                  <a:pt x="8579998" y="1474582"/>
                  <a:pt x="8585326" y="1475523"/>
                  <a:pt x="8590635" y="1476525"/>
                </a:cubicBezTo>
                <a:lnTo>
                  <a:pt x="8590752" y="1477664"/>
                </a:lnTo>
                <a:cubicBezTo>
                  <a:pt x="8815033" y="1514497"/>
                  <a:pt x="9008920" y="1637126"/>
                  <a:pt x="9135069" y="1809390"/>
                </a:cubicBezTo>
                <a:lnTo>
                  <a:pt x="9139239" y="1816149"/>
                </a:lnTo>
                <a:lnTo>
                  <a:pt x="9139239" y="2119309"/>
                </a:lnTo>
                <a:lnTo>
                  <a:pt x="9120077" y="2050665"/>
                </a:lnTo>
                <a:cubicBezTo>
                  <a:pt x="9039502" y="1829012"/>
                  <a:pt x="8844913" y="1659431"/>
                  <a:pt x="8604122" y="1608087"/>
                </a:cubicBezTo>
                <a:cubicBezTo>
                  <a:pt x="8650738" y="1843269"/>
                  <a:pt x="8821055" y="2035829"/>
                  <a:pt x="9047261" y="2119605"/>
                </a:cubicBezTo>
                <a:lnTo>
                  <a:pt x="9139239" y="2146279"/>
                </a:lnTo>
                <a:lnTo>
                  <a:pt x="9139239" y="2273778"/>
                </a:lnTo>
                <a:lnTo>
                  <a:pt x="9030179" y="2246972"/>
                </a:lnTo>
                <a:cubicBezTo>
                  <a:pt x="8735297" y="2149386"/>
                  <a:pt x="8514628" y="1897812"/>
                  <a:pt x="8470637" y="1591480"/>
                </a:cubicBezTo>
                <a:cubicBezTo>
                  <a:pt x="8470469" y="1591427"/>
                  <a:pt x="8470301" y="1591423"/>
                  <a:pt x="8470131" y="1591418"/>
                </a:cubicBezTo>
                <a:lnTo>
                  <a:pt x="8469593" y="1584794"/>
                </a:lnTo>
                <a:cubicBezTo>
                  <a:pt x="8464534" y="1554782"/>
                  <a:pt x="8462083" y="1524133"/>
                  <a:pt x="8462126" y="1493044"/>
                </a:cubicBezTo>
                <a:cubicBezTo>
                  <a:pt x="8460814" y="1487460"/>
                  <a:pt x="8460755" y="1481838"/>
                  <a:pt x="8460755" y="1476202"/>
                </a:cubicBezTo>
                <a:lnTo>
                  <a:pt x="8461349" y="1464852"/>
                </a:lnTo>
                <a:lnTo>
                  <a:pt x="8461847" y="1464884"/>
                </a:lnTo>
                <a:close/>
                <a:moveTo>
                  <a:pt x="8448085" y="1464394"/>
                </a:moveTo>
                <a:lnTo>
                  <a:pt x="8448111" y="1464884"/>
                </a:lnTo>
                <a:lnTo>
                  <a:pt x="8448609" y="1464852"/>
                </a:lnTo>
                <a:lnTo>
                  <a:pt x="8449203" y="1476202"/>
                </a:lnTo>
                <a:cubicBezTo>
                  <a:pt x="8449203" y="1481838"/>
                  <a:pt x="8449144" y="1487460"/>
                  <a:pt x="8447832" y="1493044"/>
                </a:cubicBezTo>
                <a:cubicBezTo>
                  <a:pt x="8447875" y="1524133"/>
                  <a:pt x="8445424" y="1554782"/>
                  <a:pt x="8440365" y="1584794"/>
                </a:cubicBezTo>
                <a:lnTo>
                  <a:pt x="8439827" y="1591418"/>
                </a:lnTo>
                <a:cubicBezTo>
                  <a:pt x="8439657" y="1591423"/>
                  <a:pt x="8439489" y="1591427"/>
                  <a:pt x="8439321" y="1591480"/>
                </a:cubicBezTo>
                <a:cubicBezTo>
                  <a:pt x="8389046" y="1941574"/>
                  <a:pt x="8108007" y="2220146"/>
                  <a:pt x="7749156" y="2279078"/>
                </a:cubicBezTo>
                <a:lnTo>
                  <a:pt x="7749040" y="2280217"/>
                </a:lnTo>
                <a:cubicBezTo>
                  <a:pt x="7743729" y="2281220"/>
                  <a:pt x="7738400" y="2282161"/>
                  <a:pt x="7732823" y="2281745"/>
                </a:cubicBezTo>
                <a:cubicBezTo>
                  <a:pt x="7701651" y="2287255"/>
                  <a:pt x="7669771" y="2290213"/>
                  <a:pt x="7637396" y="2290736"/>
                </a:cubicBezTo>
                <a:lnTo>
                  <a:pt x="7620278" y="2292349"/>
                </a:lnTo>
                <a:lnTo>
                  <a:pt x="7620252" y="2291858"/>
                </a:lnTo>
                <a:lnTo>
                  <a:pt x="7619753" y="2291891"/>
                </a:lnTo>
                <a:cubicBezTo>
                  <a:pt x="7619187" y="2288119"/>
                  <a:pt x="7619160" y="2284333"/>
                  <a:pt x="7619160" y="2280541"/>
                </a:cubicBezTo>
                <a:cubicBezTo>
                  <a:pt x="7619160" y="2274903"/>
                  <a:pt x="7619219" y="2269279"/>
                  <a:pt x="7620531" y="2263693"/>
                </a:cubicBezTo>
                <a:cubicBezTo>
                  <a:pt x="7620488" y="2232611"/>
                  <a:pt x="7622938" y="2201969"/>
                  <a:pt x="7627995" y="2171962"/>
                </a:cubicBezTo>
                <a:lnTo>
                  <a:pt x="7628535" y="2165325"/>
                </a:lnTo>
                <a:cubicBezTo>
                  <a:pt x="7628704" y="2165320"/>
                  <a:pt x="7628873" y="2165315"/>
                  <a:pt x="7629040" y="2165262"/>
                </a:cubicBezTo>
                <a:cubicBezTo>
                  <a:pt x="7679317" y="1815167"/>
                  <a:pt x="7960356" y="1536596"/>
                  <a:pt x="8319206" y="1477664"/>
                </a:cubicBezTo>
                <a:lnTo>
                  <a:pt x="8319323" y="1476525"/>
                </a:lnTo>
                <a:cubicBezTo>
                  <a:pt x="8324632" y="1475523"/>
                  <a:pt x="8329960" y="1474582"/>
                  <a:pt x="8335536" y="1474998"/>
                </a:cubicBezTo>
                <a:cubicBezTo>
                  <a:pt x="8366719" y="1469485"/>
                  <a:pt x="8398612" y="1466527"/>
                  <a:pt x="8430998" y="1466004"/>
                </a:cubicBezTo>
                <a:close/>
                <a:moveTo>
                  <a:pt x="6769722" y="1464394"/>
                </a:moveTo>
                <a:lnTo>
                  <a:pt x="6786810" y="1466004"/>
                </a:lnTo>
                <a:cubicBezTo>
                  <a:pt x="6819195" y="1466527"/>
                  <a:pt x="6851088" y="1469485"/>
                  <a:pt x="6882271" y="1474998"/>
                </a:cubicBezTo>
                <a:cubicBezTo>
                  <a:pt x="6887847" y="1474582"/>
                  <a:pt x="6893175" y="1475523"/>
                  <a:pt x="6898484" y="1476525"/>
                </a:cubicBezTo>
                <a:lnTo>
                  <a:pt x="6898601" y="1477664"/>
                </a:lnTo>
                <a:cubicBezTo>
                  <a:pt x="7257451" y="1536596"/>
                  <a:pt x="7538490" y="1815167"/>
                  <a:pt x="7588766" y="2165262"/>
                </a:cubicBezTo>
                <a:cubicBezTo>
                  <a:pt x="7588934" y="2165315"/>
                  <a:pt x="7589103" y="2165320"/>
                  <a:pt x="7589272" y="2165325"/>
                </a:cubicBezTo>
                <a:lnTo>
                  <a:pt x="7589812" y="2171962"/>
                </a:lnTo>
                <a:cubicBezTo>
                  <a:pt x="7594869" y="2201969"/>
                  <a:pt x="7597319" y="2232611"/>
                  <a:pt x="7597276" y="2263693"/>
                </a:cubicBezTo>
                <a:cubicBezTo>
                  <a:pt x="7598588" y="2269279"/>
                  <a:pt x="7598647" y="2274903"/>
                  <a:pt x="7598647" y="2280541"/>
                </a:cubicBezTo>
                <a:cubicBezTo>
                  <a:pt x="7598647" y="2284333"/>
                  <a:pt x="7598620" y="2288119"/>
                  <a:pt x="7598054" y="2291891"/>
                </a:cubicBezTo>
                <a:lnTo>
                  <a:pt x="7597555" y="2291858"/>
                </a:lnTo>
                <a:lnTo>
                  <a:pt x="7597529" y="2292349"/>
                </a:lnTo>
                <a:lnTo>
                  <a:pt x="7580411" y="2290736"/>
                </a:lnTo>
                <a:cubicBezTo>
                  <a:pt x="7548036" y="2290213"/>
                  <a:pt x="7516156" y="2287255"/>
                  <a:pt x="7484984" y="2281745"/>
                </a:cubicBezTo>
                <a:cubicBezTo>
                  <a:pt x="7479407" y="2282161"/>
                  <a:pt x="7474078" y="2281220"/>
                  <a:pt x="7468767" y="2280217"/>
                </a:cubicBezTo>
                <a:lnTo>
                  <a:pt x="7468651" y="2279078"/>
                </a:lnTo>
                <a:cubicBezTo>
                  <a:pt x="7109800" y="2220146"/>
                  <a:pt x="6828761" y="1941574"/>
                  <a:pt x="6778486" y="1591480"/>
                </a:cubicBezTo>
                <a:cubicBezTo>
                  <a:pt x="6778318" y="1591427"/>
                  <a:pt x="6778150" y="1591423"/>
                  <a:pt x="6777980" y="1591418"/>
                </a:cubicBezTo>
                <a:lnTo>
                  <a:pt x="6777442" y="1584794"/>
                </a:lnTo>
                <a:cubicBezTo>
                  <a:pt x="6772383" y="1554782"/>
                  <a:pt x="6769933" y="1524133"/>
                  <a:pt x="6769975" y="1493044"/>
                </a:cubicBezTo>
                <a:cubicBezTo>
                  <a:pt x="6768663" y="1487460"/>
                  <a:pt x="6768604" y="1481838"/>
                  <a:pt x="6768604" y="1476202"/>
                </a:cubicBezTo>
                <a:lnTo>
                  <a:pt x="6769198" y="1464852"/>
                </a:lnTo>
                <a:lnTo>
                  <a:pt x="6769696" y="1464884"/>
                </a:lnTo>
                <a:close/>
                <a:moveTo>
                  <a:pt x="6755934" y="1464394"/>
                </a:moveTo>
                <a:lnTo>
                  <a:pt x="6755960" y="1464884"/>
                </a:lnTo>
                <a:lnTo>
                  <a:pt x="6756458" y="1464852"/>
                </a:lnTo>
                <a:lnTo>
                  <a:pt x="6757052" y="1476202"/>
                </a:lnTo>
                <a:cubicBezTo>
                  <a:pt x="6757052" y="1481838"/>
                  <a:pt x="6756994" y="1487460"/>
                  <a:pt x="6755682" y="1493044"/>
                </a:cubicBezTo>
                <a:cubicBezTo>
                  <a:pt x="6755724" y="1524133"/>
                  <a:pt x="6753273" y="1554782"/>
                  <a:pt x="6748215" y="1584794"/>
                </a:cubicBezTo>
                <a:lnTo>
                  <a:pt x="6747676" y="1591418"/>
                </a:lnTo>
                <a:cubicBezTo>
                  <a:pt x="6747507" y="1591423"/>
                  <a:pt x="6747338" y="1591427"/>
                  <a:pt x="6747171" y="1591480"/>
                </a:cubicBezTo>
                <a:cubicBezTo>
                  <a:pt x="6696895" y="1941574"/>
                  <a:pt x="6415856" y="2220146"/>
                  <a:pt x="6057005" y="2279078"/>
                </a:cubicBezTo>
                <a:lnTo>
                  <a:pt x="6056889" y="2280217"/>
                </a:lnTo>
                <a:cubicBezTo>
                  <a:pt x="6051578" y="2281220"/>
                  <a:pt x="6046249" y="2282161"/>
                  <a:pt x="6040672" y="2281745"/>
                </a:cubicBezTo>
                <a:cubicBezTo>
                  <a:pt x="6009500" y="2287255"/>
                  <a:pt x="5977620" y="2290213"/>
                  <a:pt x="5945246" y="2290736"/>
                </a:cubicBezTo>
                <a:lnTo>
                  <a:pt x="5928127" y="2292349"/>
                </a:lnTo>
                <a:lnTo>
                  <a:pt x="5928101" y="2291858"/>
                </a:lnTo>
                <a:lnTo>
                  <a:pt x="5927602" y="2291891"/>
                </a:lnTo>
                <a:cubicBezTo>
                  <a:pt x="5927036" y="2288119"/>
                  <a:pt x="5927009" y="2284333"/>
                  <a:pt x="5927009" y="2280541"/>
                </a:cubicBezTo>
                <a:cubicBezTo>
                  <a:pt x="5927009" y="2274903"/>
                  <a:pt x="5927068" y="2269279"/>
                  <a:pt x="5928380" y="2263693"/>
                </a:cubicBezTo>
                <a:cubicBezTo>
                  <a:pt x="5928338" y="2232611"/>
                  <a:pt x="5930787" y="2201969"/>
                  <a:pt x="5935844" y="2171962"/>
                </a:cubicBezTo>
                <a:lnTo>
                  <a:pt x="5936384" y="2165325"/>
                </a:lnTo>
                <a:cubicBezTo>
                  <a:pt x="5936553" y="2165320"/>
                  <a:pt x="5936722" y="2165315"/>
                  <a:pt x="5936890" y="2165262"/>
                </a:cubicBezTo>
                <a:cubicBezTo>
                  <a:pt x="5987166" y="1815167"/>
                  <a:pt x="6268205" y="1536596"/>
                  <a:pt x="6627056" y="1477664"/>
                </a:cubicBezTo>
                <a:lnTo>
                  <a:pt x="6627173" y="1476525"/>
                </a:lnTo>
                <a:cubicBezTo>
                  <a:pt x="6632481" y="1475523"/>
                  <a:pt x="6637809" y="1474582"/>
                  <a:pt x="6643385" y="1474998"/>
                </a:cubicBezTo>
                <a:cubicBezTo>
                  <a:pt x="6674569" y="1469485"/>
                  <a:pt x="6706461" y="1466527"/>
                  <a:pt x="6738847" y="1466004"/>
                </a:cubicBezTo>
                <a:close/>
                <a:moveTo>
                  <a:pt x="5077571" y="1464394"/>
                </a:moveTo>
                <a:lnTo>
                  <a:pt x="5094659" y="1466004"/>
                </a:lnTo>
                <a:cubicBezTo>
                  <a:pt x="5127044" y="1466527"/>
                  <a:pt x="5158937" y="1469485"/>
                  <a:pt x="5190120" y="1474998"/>
                </a:cubicBezTo>
                <a:cubicBezTo>
                  <a:pt x="5195696" y="1474582"/>
                  <a:pt x="5201024" y="1475523"/>
                  <a:pt x="5206334" y="1476525"/>
                </a:cubicBezTo>
                <a:lnTo>
                  <a:pt x="5206450" y="1477664"/>
                </a:lnTo>
                <a:cubicBezTo>
                  <a:pt x="5565300" y="1536596"/>
                  <a:pt x="5846339" y="1815167"/>
                  <a:pt x="5896616" y="2165262"/>
                </a:cubicBezTo>
                <a:cubicBezTo>
                  <a:pt x="5896783" y="2165315"/>
                  <a:pt x="5896953" y="2165320"/>
                  <a:pt x="5897121" y="2165325"/>
                </a:cubicBezTo>
                <a:lnTo>
                  <a:pt x="5897662" y="2171962"/>
                </a:lnTo>
                <a:cubicBezTo>
                  <a:pt x="5902718" y="2201969"/>
                  <a:pt x="5905168" y="2232611"/>
                  <a:pt x="5905126" y="2263693"/>
                </a:cubicBezTo>
                <a:cubicBezTo>
                  <a:pt x="5906438" y="2269279"/>
                  <a:pt x="5906496" y="2274903"/>
                  <a:pt x="5906496" y="2280541"/>
                </a:cubicBezTo>
                <a:cubicBezTo>
                  <a:pt x="5906496" y="2284333"/>
                  <a:pt x="5906469" y="2288119"/>
                  <a:pt x="5905903" y="2291891"/>
                </a:cubicBezTo>
                <a:lnTo>
                  <a:pt x="5905404" y="2291858"/>
                </a:lnTo>
                <a:lnTo>
                  <a:pt x="5905378" y="2292349"/>
                </a:lnTo>
                <a:lnTo>
                  <a:pt x="5888260" y="2290736"/>
                </a:lnTo>
                <a:cubicBezTo>
                  <a:pt x="5855886" y="2290213"/>
                  <a:pt x="5824005" y="2287255"/>
                  <a:pt x="5792833" y="2281745"/>
                </a:cubicBezTo>
                <a:cubicBezTo>
                  <a:pt x="5787256" y="2282161"/>
                  <a:pt x="5781927" y="2281220"/>
                  <a:pt x="5776617" y="2280217"/>
                </a:cubicBezTo>
                <a:lnTo>
                  <a:pt x="5776501" y="2279078"/>
                </a:lnTo>
                <a:cubicBezTo>
                  <a:pt x="5417649" y="2220146"/>
                  <a:pt x="5136610" y="1941574"/>
                  <a:pt x="5086335" y="1591480"/>
                </a:cubicBezTo>
                <a:cubicBezTo>
                  <a:pt x="5086167" y="1591427"/>
                  <a:pt x="5085999" y="1591423"/>
                  <a:pt x="5085830" y="1591418"/>
                </a:cubicBezTo>
                <a:lnTo>
                  <a:pt x="5085291" y="1584794"/>
                </a:lnTo>
                <a:cubicBezTo>
                  <a:pt x="5080233" y="1554782"/>
                  <a:pt x="5077782" y="1524133"/>
                  <a:pt x="5077824" y="1493044"/>
                </a:cubicBezTo>
                <a:cubicBezTo>
                  <a:pt x="5076512" y="1487460"/>
                  <a:pt x="5076453" y="1481838"/>
                  <a:pt x="5076453" y="1476202"/>
                </a:cubicBezTo>
                <a:lnTo>
                  <a:pt x="5077047" y="1464852"/>
                </a:lnTo>
                <a:lnTo>
                  <a:pt x="5077545" y="1464884"/>
                </a:lnTo>
                <a:close/>
                <a:moveTo>
                  <a:pt x="5063783" y="1464394"/>
                </a:moveTo>
                <a:lnTo>
                  <a:pt x="5063809" y="1464884"/>
                </a:lnTo>
                <a:lnTo>
                  <a:pt x="5064307" y="1464852"/>
                </a:lnTo>
                <a:lnTo>
                  <a:pt x="5064902" y="1476202"/>
                </a:lnTo>
                <a:cubicBezTo>
                  <a:pt x="5064902" y="1481838"/>
                  <a:pt x="5064842" y="1487460"/>
                  <a:pt x="5063530" y="1493044"/>
                </a:cubicBezTo>
                <a:cubicBezTo>
                  <a:pt x="5063572" y="1524133"/>
                  <a:pt x="5061122" y="1554782"/>
                  <a:pt x="5056063" y="1584794"/>
                </a:cubicBezTo>
                <a:lnTo>
                  <a:pt x="5055525" y="1591418"/>
                </a:lnTo>
                <a:cubicBezTo>
                  <a:pt x="5055355" y="1591423"/>
                  <a:pt x="5055187" y="1591427"/>
                  <a:pt x="5055019" y="1591480"/>
                </a:cubicBezTo>
                <a:cubicBezTo>
                  <a:pt x="5004744" y="1941574"/>
                  <a:pt x="4723705" y="2220146"/>
                  <a:pt x="4364853" y="2279078"/>
                </a:cubicBezTo>
                <a:lnTo>
                  <a:pt x="4364737" y="2280217"/>
                </a:lnTo>
                <a:cubicBezTo>
                  <a:pt x="4359427" y="2281220"/>
                  <a:pt x="4354098" y="2282161"/>
                  <a:pt x="4348521" y="2281745"/>
                </a:cubicBezTo>
                <a:cubicBezTo>
                  <a:pt x="4317350" y="2287255"/>
                  <a:pt x="4285468" y="2290213"/>
                  <a:pt x="4253094" y="2290736"/>
                </a:cubicBezTo>
                <a:lnTo>
                  <a:pt x="4235976" y="2292349"/>
                </a:lnTo>
                <a:lnTo>
                  <a:pt x="4235950" y="2291858"/>
                </a:lnTo>
                <a:lnTo>
                  <a:pt x="4235451" y="2291891"/>
                </a:lnTo>
                <a:cubicBezTo>
                  <a:pt x="4234885" y="2288119"/>
                  <a:pt x="4234858" y="2284333"/>
                  <a:pt x="4234858" y="2280541"/>
                </a:cubicBezTo>
                <a:cubicBezTo>
                  <a:pt x="4234858" y="2274903"/>
                  <a:pt x="4234916" y="2269279"/>
                  <a:pt x="4236228" y="2263693"/>
                </a:cubicBezTo>
                <a:cubicBezTo>
                  <a:pt x="4236186" y="2232611"/>
                  <a:pt x="4238636" y="2201969"/>
                  <a:pt x="4243692" y="2171962"/>
                </a:cubicBezTo>
                <a:lnTo>
                  <a:pt x="4244233" y="2165325"/>
                </a:lnTo>
                <a:cubicBezTo>
                  <a:pt x="4244401" y="2165320"/>
                  <a:pt x="4244571" y="2165315"/>
                  <a:pt x="4244738" y="2165262"/>
                </a:cubicBezTo>
                <a:cubicBezTo>
                  <a:pt x="4295015" y="1815167"/>
                  <a:pt x="4576054" y="1536596"/>
                  <a:pt x="4934904" y="1477664"/>
                </a:cubicBezTo>
                <a:lnTo>
                  <a:pt x="4935021" y="1476525"/>
                </a:lnTo>
                <a:cubicBezTo>
                  <a:pt x="4940330" y="1475523"/>
                  <a:pt x="4945658" y="1474582"/>
                  <a:pt x="4951234" y="1474998"/>
                </a:cubicBezTo>
                <a:cubicBezTo>
                  <a:pt x="4982417" y="1469485"/>
                  <a:pt x="5014310" y="1466527"/>
                  <a:pt x="5046695" y="1466004"/>
                </a:cubicBezTo>
                <a:close/>
                <a:moveTo>
                  <a:pt x="3385420" y="1464394"/>
                </a:moveTo>
                <a:lnTo>
                  <a:pt x="3402507" y="1466004"/>
                </a:lnTo>
                <a:cubicBezTo>
                  <a:pt x="3434893" y="1466527"/>
                  <a:pt x="3466785" y="1469485"/>
                  <a:pt x="3497969" y="1474998"/>
                </a:cubicBezTo>
                <a:cubicBezTo>
                  <a:pt x="3503545" y="1474582"/>
                  <a:pt x="3508873" y="1475523"/>
                  <a:pt x="3514181" y="1476525"/>
                </a:cubicBezTo>
                <a:lnTo>
                  <a:pt x="3514298" y="1477664"/>
                </a:lnTo>
                <a:cubicBezTo>
                  <a:pt x="3873149" y="1536596"/>
                  <a:pt x="4154188" y="1815167"/>
                  <a:pt x="4204464" y="2165262"/>
                </a:cubicBezTo>
                <a:cubicBezTo>
                  <a:pt x="4204632" y="2165315"/>
                  <a:pt x="4204801" y="2165320"/>
                  <a:pt x="4204970" y="2165325"/>
                </a:cubicBezTo>
                <a:lnTo>
                  <a:pt x="4205510" y="2171962"/>
                </a:lnTo>
                <a:cubicBezTo>
                  <a:pt x="4210567" y="2201969"/>
                  <a:pt x="4213016" y="2232611"/>
                  <a:pt x="4212974" y="2263693"/>
                </a:cubicBezTo>
                <a:cubicBezTo>
                  <a:pt x="4214286" y="2269279"/>
                  <a:pt x="4214345" y="2274903"/>
                  <a:pt x="4214345" y="2280541"/>
                </a:cubicBezTo>
                <a:cubicBezTo>
                  <a:pt x="4214345" y="2284333"/>
                  <a:pt x="4214318" y="2288119"/>
                  <a:pt x="4213752" y="2291891"/>
                </a:cubicBezTo>
                <a:lnTo>
                  <a:pt x="4213253" y="2291858"/>
                </a:lnTo>
                <a:lnTo>
                  <a:pt x="4213227" y="2292349"/>
                </a:lnTo>
                <a:lnTo>
                  <a:pt x="4196108" y="2290736"/>
                </a:lnTo>
                <a:cubicBezTo>
                  <a:pt x="4163734" y="2290213"/>
                  <a:pt x="4131854" y="2287255"/>
                  <a:pt x="4100682" y="2281745"/>
                </a:cubicBezTo>
                <a:cubicBezTo>
                  <a:pt x="4095105" y="2282161"/>
                  <a:pt x="4089776" y="2281220"/>
                  <a:pt x="4084465" y="2280217"/>
                </a:cubicBezTo>
                <a:lnTo>
                  <a:pt x="4084349" y="2279078"/>
                </a:lnTo>
                <a:cubicBezTo>
                  <a:pt x="3725498" y="2220146"/>
                  <a:pt x="3444459" y="1941574"/>
                  <a:pt x="3394183" y="1591480"/>
                </a:cubicBezTo>
                <a:cubicBezTo>
                  <a:pt x="3394016" y="1591427"/>
                  <a:pt x="3393847" y="1591423"/>
                  <a:pt x="3393678" y="1591418"/>
                </a:cubicBezTo>
                <a:lnTo>
                  <a:pt x="3393139" y="1584794"/>
                </a:lnTo>
                <a:cubicBezTo>
                  <a:pt x="3388081" y="1554782"/>
                  <a:pt x="3385630" y="1524133"/>
                  <a:pt x="3385672" y="1493044"/>
                </a:cubicBezTo>
                <a:cubicBezTo>
                  <a:pt x="3384360" y="1487460"/>
                  <a:pt x="3384302" y="1481838"/>
                  <a:pt x="3384302" y="1476202"/>
                </a:cubicBezTo>
                <a:lnTo>
                  <a:pt x="3384896" y="1464852"/>
                </a:lnTo>
                <a:lnTo>
                  <a:pt x="3385394" y="1464884"/>
                </a:lnTo>
                <a:close/>
                <a:moveTo>
                  <a:pt x="3371632" y="1464394"/>
                </a:moveTo>
                <a:lnTo>
                  <a:pt x="3371658" y="1464884"/>
                </a:lnTo>
                <a:lnTo>
                  <a:pt x="3372156" y="1464852"/>
                </a:lnTo>
                <a:lnTo>
                  <a:pt x="3372750" y="1476202"/>
                </a:lnTo>
                <a:cubicBezTo>
                  <a:pt x="3372750" y="1481838"/>
                  <a:pt x="3372691" y="1487460"/>
                  <a:pt x="3371379" y="1493044"/>
                </a:cubicBezTo>
                <a:cubicBezTo>
                  <a:pt x="3371421" y="1524133"/>
                  <a:pt x="3368971" y="1554782"/>
                  <a:pt x="3363912" y="1584794"/>
                </a:cubicBezTo>
                <a:lnTo>
                  <a:pt x="3363374" y="1591418"/>
                </a:lnTo>
                <a:cubicBezTo>
                  <a:pt x="3363204" y="1591423"/>
                  <a:pt x="3363036" y="1591427"/>
                  <a:pt x="3362868" y="1591480"/>
                </a:cubicBezTo>
                <a:cubicBezTo>
                  <a:pt x="3312593" y="1941574"/>
                  <a:pt x="3031554" y="2220146"/>
                  <a:pt x="2672703" y="2279078"/>
                </a:cubicBezTo>
                <a:lnTo>
                  <a:pt x="2672586" y="2280217"/>
                </a:lnTo>
                <a:cubicBezTo>
                  <a:pt x="2667276" y="2281220"/>
                  <a:pt x="2661947" y="2282161"/>
                  <a:pt x="2656370" y="2281745"/>
                </a:cubicBezTo>
                <a:cubicBezTo>
                  <a:pt x="2625198" y="2287255"/>
                  <a:pt x="2593318" y="2290213"/>
                  <a:pt x="2560943" y="2290736"/>
                </a:cubicBezTo>
                <a:lnTo>
                  <a:pt x="2543825" y="2292349"/>
                </a:lnTo>
                <a:lnTo>
                  <a:pt x="2543799" y="2291858"/>
                </a:lnTo>
                <a:lnTo>
                  <a:pt x="2543300" y="2291891"/>
                </a:lnTo>
                <a:cubicBezTo>
                  <a:pt x="2542734" y="2288119"/>
                  <a:pt x="2542707" y="2284333"/>
                  <a:pt x="2542707" y="2280541"/>
                </a:cubicBezTo>
                <a:cubicBezTo>
                  <a:pt x="2542707" y="2274903"/>
                  <a:pt x="2542765" y="2269279"/>
                  <a:pt x="2544077" y="2263693"/>
                </a:cubicBezTo>
                <a:cubicBezTo>
                  <a:pt x="2544035" y="2232611"/>
                  <a:pt x="2546485" y="2201969"/>
                  <a:pt x="2551541" y="2171962"/>
                </a:cubicBezTo>
                <a:lnTo>
                  <a:pt x="2552082" y="2165325"/>
                </a:lnTo>
                <a:cubicBezTo>
                  <a:pt x="2552250" y="2165320"/>
                  <a:pt x="2552420" y="2165315"/>
                  <a:pt x="2552587" y="2165262"/>
                </a:cubicBezTo>
                <a:cubicBezTo>
                  <a:pt x="2602864" y="1815167"/>
                  <a:pt x="2883903" y="1536596"/>
                  <a:pt x="3242753" y="1477664"/>
                </a:cubicBezTo>
                <a:lnTo>
                  <a:pt x="3242870" y="1476525"/>
                </a:lnTo>
                <a:cubicBezTo>
                  <a:pt x="3248179" y="1475523"/>
                  <a:pt x="3253507" y="1474582"/>
                  <a:pt x="3259083" y="1474998"/>
                </a:cubicBezTo>
                <a:cubicBezTo>
                  <a:pt x="3290266" y="1469485"/>
                  <a:pt x="3322159" y="1466527"/>
                  <a:pt x="3354544" y="1466004"/>
                </a:cubicBezTo>
                <a:close/>
                <a:moveTo>
                  <a:pt x="1693269" y="1464394"/>
                </a:moveTo>
                <a:lnTo>
                  <a:pt x="1710356" y="1466004"/>
                </a:lnTo>
                <a:cubicBezTo>
                  <a:pt x="1742742" y="1466527"/>
                  <a:pt x="1774634" y="1469485"/>
                  <a:pt x="1805818" y="1474998"/>
                </a:cubicBezTo>
                <a:cubicBezTo>
                  <a:pt x="1811394" y="1474582"/>
                  <a:pt x="1816722" y="1475523"/>
                  <a:pt x="1822030" y="1476525"/>
                </a:cubicBezTo>
                <a:lnTo>
                  <a:pt x="1822148" y="1477664"/>
                </a:lnTo>
                <a:cubicBezTo>
                  <a:pt x="2180998" y="1536596"/>
                  <a:pt x="2462037" y="1815167"/>
                  <a:pt x="2512313" y="2165262"/>
                </a:cubicBezTo>
                <a:cubicBezTo>
                  <a:pt x="2512481" y="2165315"/>
                  <a:pt x="2512650" y="2165320"/>
                  <a:pt x="2512819" y="2165325"/>
                </a:cubicBezTo>
                <a:lnTo>
                  <a:pt x="2513359" y="2171962"/>
                </a:lnTo>
                <a:cubicBezTo>
                  <a:pt x="2518416" y="2201969"/>
                  <a:pt x="2520865" y="2232611"/>
                  <a:pt x="2520823" y="2263693"/>
                </a:cubicBezTo>
                <a:cubicBezTo>
                  <a:pt x="2522135" y="2269279"/>
                  <a:pt x="2522194" y="2274903"/>
                  <a:pt x="2522194" y="2280541"/>
                </a:cubicBezTo>
                <a:cubicBezTo>
                  <a:pt x="2522194" y="2284333"/>
                  <a:pt x="2522167" y="2288119"/>
                  <a:pt x="2521601" y="2291891"/>
                </a:cubicBezTo>
                <a:lnTo>
                  <a:pt x="2521102" y="2291858"/>
                </a:lnTo>
                <a:lnTo>
                  <a:pt x="2521076" y="2292349"/>
                </a:lnTo>
                <a:lnTo>
                  <a:pt x="2503957" y="2290736"/>
                </a:lnTo>
                <a:cubicBezTo>
                  <a:pt x="2471583" y="2290213"/>
                  <a:pt x="2439703" y="2287255"/>
                  <a:pt x="2408531" y="2281745"/>
                </a:cubicBezTo>
                <a:cubicBezTo>
                  <a:pt x="2402954" y="2282161"/>
                  <a:pt x="2397625" y="2281220"/>
                  <a:pt x="2392314" y="2280217"/>
                </a:cubicBezTo>
                <a:lnTo>
                  <a:pt x="2392198" y="2279078"/>
                </a:lnTo>
                <a:cubicBezTo>
                  <a:pt x="2033347" y="2220146"/>
                  <a:pt x="1752308" y="1941574"/>
                  <a:pt x="1702032" y="1591480"/>
                </a:cubicBezTo>
                <a:cubicBezTo>
                  <a:pt x="1701865" y="1591427"/>
                  <a:pt x="1701696" y="1591423"/>
                  <a:pt x="1701527" y="1591418"/>
                </a:cubicBezTo>
                <a:lnTo>
                  <a:pt x="1700989" y="1584794"/>
                </a:lnTo>
                <a:cubicBezTo>
                  <a:pt x="1695930" y="1554782"/>
                  <a:pt x="1693479" y="1524133"/>
                  <a:pt x="1693521" y="1493044"/>
                </a:cubicBezTo>
                <a:cubicBezTo>
                  <a:pt x="1692209" y="1487460"/>
                  <a:pt x="1692151" y="1481838"/>
                  <a:pt x="1692151" y="1476202"/>
                </a:cubicBezTo>
                <a:lnTo>
                  <a:pt x="1692745" y="1464852"/>
                </a:lnTo>
                <a:lnTo>
                  <a:pt x="1693243" y="1464884"/>
                </a:lnTo>
                <a:close/>
                <a:moveTo>
                  <a:pt x="1679481" y="1464394"/>
                </a:moveTo>
                <a:lnTo>
                  <a:pt x="1679507" y="1464884"/>
                </a:lnTo>
                <a:lnTo>
                  <a:pt x="1680005" y="1464852"/>
                </a:lnTo>
                <a:lnTo>
                  <a:pt x="1680599" y="1476202"/>
                </a:lnTo>
                <a:cubicBezTo>
                  <a:pt x="1680599" y="1481838"/>
                  <a:pt x="1680540" y="1487460"/>
                  <a:pt x="1679228" y="1493044"/>
                </a:cubicBezTo>
                <a:cubicBezTo>
                  <a:pt x="1679270" y="1524133"/>
                  <a:pt x="1676820" y="1554782"/>
                  <a:pt x="1671761" y="1584794"/>
                </a:cubicBezTo>
                <a:lnTo>
                  <a:pt x="1671223" y="1591418"/>
                </a:lnTo>
                <a:cubicBezTo>
                  <a:pt x="1671053" y="1591423"/>
                  <a:pt x="1670885" y="1591427"/>
                  <a:pt x="1670717" y="1591480"/>
                </a:cubicBezTo>
                <a:cubicBezTo>
                  <a:pt x="1620442" y="1941574"/>
                  <a:pt x="1339403" y="2220146"/>
                  <a:pt x="980552" y="2279078"/>
                </a:cubicBezTo>
                <a:lnTo>
                  <a:pt x="980435" y="2280217"/>
                </a:lnTo>
                <a:cubicBezTo>
                  <a:pt x="975125" y="2281220"/>
                  <a:pt x="969796" y="2282161"/>
                  <a:pt x="964219" y="2281745"/>
                </a:cubicBezTo>
                <a:cubicBezTo>
                  <a:pt x="933047" y="2287255"/>
                  <a:pt x="901167" y="2290213"/>
                  <a:pt x="868792" y="2290736"/>
                </a:cubicBezTo>
                <a:lnTo>
                  <a:pt x="851674" y="2292349"/>
                </a:lnTo>
                <a:lnTo>
                  <a:pt x="851648" y="2291858"/>
                </a:lnTo>
                <a:lnTo>
                  <a:pt x="851149" y="2291891"/>
                </a:lnTo>
                <a:cubicBezTo>
                  <a:pt x="850583" y="2288119"/>
                  <a:pt x="850556" y="2284333"/>
                  <a:pt x="850556" y="2280541"/>
                </a:cubicBezTo>
                <a:cubicBezTo>
                  <a:pt x="850556" y="2274903"/>
                  <a:pt x="850614" y="2269279"/>
                  <a:pt x="851926" y="2263693"/>
                </a:cubicBezTo>
                <a:cubicBezTo>
                  <a:pt x="851884" y="2232611"/>
                  <a:pt x="854334" y="2201969"/>
                  <a:pt x="859390" y="2171962"/>
                </a:cubicBezTo>
                <a:lnTo>
                  <a:pt x="859931" y="2165325"/>
                </a:lnTo>
                <a:cubicBezTo>
                  <a:pt x="860099" y="2165320"/>
                  <a:pt x="860269" y="2165315"/>
                  <a:pt x="860436" y="2165262"/>
                </a:cubicBezTo>
                <a:cubicBezTo>
                  <a:pt x="910713" y="1815167"/>
                  <a:pt x="1191752" y="1536596"/>
                  <a:pt x="1550602" y="1477664"/>
                </a:cubicBezTo>
                <a:lnTo>
                  <a:pt x="1550719" y="1476525"/>
                </a:lnTo>
                <a:cubicBezTo>
                  <a:pt x="1556028" y="1475523"/>
                  <a:pt x="1561356" y="1474582"/>
                  <a:pt x="1566932" y="1474998"/>
                </a:cubicBezTo>
                <a:cubicBezTo>
                  <a:pt x="1598115" y="1469485"/>
                  <a:pt x="1630008" y="1466527"/>
                  <a:pt x="1662393" y="1466004"/>
                </a:cubicBezTo>
                <a:close/>
                <a:moveTo>
                  <a:pt x="1118" y="1464394"/>
                </a:moveTo>
                <a:lnTo>
                  <a:pt x="18205" y="1466004"/>
                </a:lnTo>
                <a:cubicBezTo>
                  <a:pt x="50591" y="1466527"/>
                  <a:pt x="82483" y="1469485"/>
                  <a:pt x="113667" y="1474998"/>
                </a:cubicBezTo>
                <a:cubicBezTo>
                  <a:pt x="119243" y="1474582"/>
                  <a:pt x="124571" y="1475523"/>
                  <a:pt x="129879" y="1476525"/>
                </a:cubicBezTo>
                <a:lnTo>
                  <a:pt x="129997" y="1477664"/>
                </a:lnTo>
                <a:cubicBezTo>
                  <a:pt x="488847" y="1536596"/>
                  <a:pt x="769886" y="1815167"/>
                  <a:pt x="820162" y="2165262"/>
                </a:cubicBezTo>
                <a:cubicBezTo>
                  <a:pt x="820330" y="2165315"/>
                  <a:pt x="820499" y="2165320"/>
                  <a:pt x="820668" y="2165325"/>
                </a:cubicBezTo>
                <a:lnTo>
                  <a:pt x="821208" y="2171962"/>
                </a:lnTo>
                <a:cubicBezTo>
                  <a:pt x="826265" y="2201969"/>
                  <a:pt x="828714" y="2232611"/>
                  <a:pt x="828672" y="2263693"/>
                </a:cubicBezTo>
                <a:cubicBezTo>
                  <a:pt x="829984" y="2269279"/>
                  <a:pt x="830043" y="2274903"/>
                  <a:pt x="830043" y="2280541"/>
                </a:cubicBezTo>
                <a:cubicBezTo>
                  <a:pt x="830043" y="2284333"/>
                  <a:pt x="830016" y="2288119"/>
                  <a:pt x="829450" y="2291891"/>
                </a:cubicBezTo>
                <a:lnTo>
                  <a:pt x="828951" y="2291858"/>
                </a:lnTo>
                <a:lnTo>
                  <a:pt x="828925" y="2292349"/>
                </a:lnTo>
                <a:lnTo>
                  <a:pt x="811806" y="2290736"/>
                </a:lnTo>
                <a:cubicBezTo>
                  <a:pt x="779432" y="2290213"/>
                  <a:pt x="747552" y="2287255"/>
                  <a:pt x="716380" y="2281745"/>
                </a:cubicBezTo>
                <a:cubicBezTo>
                  <a:pt x="710803" y="2282161"/>
                  <a:pt x="705474" y="2281220"/>
                  <a:pt x="700163" y="2280217"/>
                </a:cubicBezTo>
                <a:lnTo>
                  <a:pt x="700047" y="2279078"/>
                </a:lnTo>
                <a:cubicBezTo>
                  <a:pt x="341196" y="2220146"/>
                  <a:pt x="60157" y="1941574"/>
                  <a:pt x="9881" y="1591480"/>
                </a:cubicBezTo>
                <a:cubicBezTo>
                  <a:pt x="9714" y="1591427"/>
                  <a:pt x="9545" y="1591423"/>
                  <a:pt x="9376" y="1591418"/>
                </a:cubicBezTo>
                <a:lnTo>
                  <a:pt x="8837" y="1584794"/>
                </a:lnTo>
                <a:cubicBezTo>
                  <a:pt x="3779" y="1554782"/>
                  <a:pt x="1328" y="1524133"/>
                  <a:pt x="1370" y="1493044"/>
                </a:cubicBezTo>
                <a:cubicBezTo>
                  <a:pt x="58" y="1487460"/>
                  <a:pt x="0" y="1481838"/>
                  <a:pt x="0" y="1476202"/>
                </a:cubicBezTo>
                <a:lnTo>
                  <a:pt x="594" y="1464852"/>
                </a:lnTo>
                <a:lnTo>
                  <a:pt x="1092" y="1464884"/>
                </a:lnTo>
                <a:close/>
                <a:moveTo>
                  <a:pt x="7762529" y="750600"/>
                </a:moveTo>
                <a:cubicBezTo>
                  <a:pt x="7815805" y="1021506"/>
                  <a:pt x="8030648" y="1236303"/>
                  <a:pt x="8305838" y="1295446"/>
                </a:cubicBezTo>
                <a:cubicBezTo>
                  <a:pt x="8252563" y="1024540"/>
                  <a:pt x="8037719" y="809743"/>
                  <a:pt x="7762529" y="750600"/>
                </a:cubicBezTo>
                <a:close/>
                <a:moveTo>
                  <a:pt x="7455280" y="750600"/>
                </a:moveTo>
                <a:cubicBezTo>
                  <a:pt x="7180090" y="809743"/>
                  <a:pt x="6965246" y="1024540"/>
                  <a:pt x="6911971" y="1295446"/>
                </a:cubicBezTo>
                <a:cubicBezTo>
                  <a:pt x="7187161" y="1236303"/>
                  <a:pt x="7402004" y="1021506"/>
                  <a:pt x="7455280" y="750600"/>
                </a:cubicBezTo>
                <a:close/>
                <a:moveTo>
                  <a:pt x="6070378" y="750600"/>
                </a:moveTo>
                <a:cubicBezTo>
                  <a:pt x="6123654" y="1021506"/>
                  <a:pt x="6338497" y="1236303"/>
                  <a:pt x="6613687" y="1295446"/>
                </a:cubicBezTo>
                <a:cubicBezTo>
                  <a:pt x="6560412" y="1024540"/>
                  <a:pt x="6345568" y="809743"/>
                  <a:pt x="6070378" y="750600"/>
                </a:cubicBezTo>
                <a:close/>
                <a:moveTo>
                  <a:pt x="5763129" y="750600"/>
                </a:moveTo>
                <a:cubicBezTo>
                  <a:pt x="5487939" y="809743"/>
                  <a:pt x="5273095" y="1024540"/>
                  <a:pt x="5219820" y="1295446"/>
                </a:cubicBezTo>
                <a:cubicBezTo>
                  <a:pt x="5495010" y="1236303"/>
                  <a:pt x="5709853" y="1021506"/>
                  <a:pt x="5763129" y="750600"/>
                </a:cubicBezTo>
                <a:close/>
                <a:moveTo>
                  <a:pt x="4378227" y="750600"/>
                </a:moveTo>
                <a:cubicBezTo>
                  <a:pt x="4431503" y="1021506"/>
                  <a:pt x="4646346" y="1236303"/>
                  <a:pt x="4921536" y="1295446"/>
                </a:cubicBezTo>
                <a:cubicBezTo>
                  <a:pt x="4868261" y="1024540"/>
                  <a:pt x="4653417" y="809743"/>
                  <a:pt x="4378227" y="750600"/>
                </a:cubicBezTo>
                <a:close/>
                <a:moveTo>
                  <a:pt x="4070978" y="750600"/>
                </a:moveTo>
                <a:cubicBezTo>
                  <a:pt x="3795788" y="809743"/>
                  <a:pt x="3580944" y="1024540"/>
                  <a:pt x="3527669" y="1295446"/>
                </a:cubicBezTo>
                <a:cubicBezTo>
                  <a:pt x="3802859" y="1236303"/>
                  <a:pt x="4017702" y="1021506"/>
                  <a:pt x="4070978" y="750600"/>
                </a:cubicBezTo>
                <a:close/>
                <a:moveTo>
                  <a:pt x="2686076" y="750600"/>
                </a:moveTo>
                <a:cubicBezTo>
                  <a:pt x="2739352" y="1021506"/>
                  <a:pt x="2954195" y="1236303"/>
                  <a:pt x="3229385" y="1295446"/>
                </a:cubicBezTo>
                <a:cubicBezTo>
                  <a:pt x="3176110" y="1024540"/>
                  <a:pt x="2961266" y="809743"/>
                  <a:pt x="2686076" y="750600"/>
                </a:cubicBezTo>
                <a:close/>
                <a:moveTo>
                  <a:pt x="2378827" y="750600"/>
                </a:moveTo>
                <a:cubicBezTo>
                  <a:pt x="2103637" y="809743"/>
                  <a:pt x="1888793" y="1024540"/>
                  <a:pt x="1835518" y="1295446"/>
                </a:cubicBezTo>
                <a:cubicBezTo>
                  <a:pt x="2110708" y="1236303"/>
                  <a:pt x="2325551" y="1021506"/>
                  <a:pt x="2378827" y="750600"/>
                </a:cubicBezTo>
                <a:close/>
                <a:moveTo>
                  <a:pt x="993925" y="750600"/>
                </a:moveTo>
                <a:cubicBezTo>
                  <a:pt x="1047201" y="1021506"/>
                  <a:pt x="1262044" y="1236303"/>
                  <a:pt x="1537234" y="1295446"/>
                </a:cubicBezTo>
                <a:cubicBezTo>
                  <a:pt x="1483959" y="1024540"/>
                  <a:pt x="1269115" y="809743"/>
                  <a:pt x="993925" y="750600"/>
                </a:cubicBezTo>
                <a:close/>
                <a:moveTo>
                  <a:pt x="686676" y="750600"/>
                </a:moveTo>
                <a:cubicBezTo>
                  <a:pt x="411486" y="809743"/>
                  <a:pt x="196642" y="1024540"/>
                  <a:pt x="143367" y="1295446"/>
                </a:cubicBezTo>
                <a:cubicBezTo>
                  <a:pt x="418557" y="1236303"/>
                  <a:pt x="633400" y="1021506"/>
                  <a:pt x="686676" y="750600"/>
                </a:cubicBezTo>
                <a:close/>
                <a:moveTo>
                  <a:pt x="9139239" y="624486"/>
                </a:moveTo>
                <a:lnTo>
                  <a:pt x="9139239" y="752995"/>
                </a:lnTo>
                <a:lnTo>
                  <a:pt x="9047261" y="779881"/>
                </a:lnTo>
                <a:cubicBezTo>
                  <a:pt x="8821055" y="864319"/>
                  <a:pt x="8650738" y="1058403"/>
                  <a:pt x="8604122" y="1295446"/>
                </a:cubicBezTo>
                <a:cubicBezTo>
                  <a:pt x="8844913" y="1243696"/>
                  <a:pt x="9039501" y="1072773"/>
                  <a:pt x="9120077" y="849365"/>
                </a:cubicBezTo>
                <a:lnTo>
                  <a:pt x="9139239" y="780178"/>
                </a:lnTo>
                <a:lnTo>
                  <a:pt x="9139239" y="1085737"/>
                </a:lnTo>
                <a:lnTo>
                  <a:pt x="9135069" y="1092549"/>
                </a:lnTo>
                <a:cubicBezTo>
                  <a:pt x="9008919" y="1266178"/>
                  <a:pt x="8815033" y="1389778"/>
                  <a:pt x="8590751" y="1426902"/>
                </a:cubicBezTo>
                <a:lnTo>
                  <a:pt x="8590635" y="1428050"/>
                </a:lnTo>
                <a:cubicBezTo>
                  <a:pt x="8585324" y="1429061"/>
                  <a:pt x="8579995" y="1430009"/>
                  <a:pt x="8574418" y="1429590"/>
                </a:cubicBezTo>
                <a:cubicBezTo>
                  <a:pt x="8543246" y="1435144"/>
                  <a:pt x="8511366" y="1438125"/>
                  <a:pt x="8478991" y="1438652"/>
                </a:cubicBezTo>
                <a:lnTo>
                  <a:pt x="8461873" y="1440278"/>
                </a:lnTo>
                <a:lnTo>
                  <a:pt x="8461847" y="1439783"/>
                </a:lnTo>
                <a:lnTo>
                  <a:pt x="8461348" y="1439816"/>
                </a:lnTo>
                <a:cubicBezTo>
                  <a:pt x="8460782" y="1436014"/>
                  <a:pt x="8460755" y="1432198"/>
                  <a:pt x="8460755" y="1428376"/>
                </a:cubicBezTo>
                <a:cubicBezTo>
                  <a:pt x="8460755" y="1422694"/>
                  <a:pt x="8460814" y="1417025"/>
                  <a:pt x="8462126" y="1411395"/>
                </a:cubicBezTo>
                <a:cubicBezTo>
                  <a:pt x="8462083" y="1380067"/>
                  <a:pt x="8464533" y="1349182"/>
                  <a:pt x="8469590" y="1318938"/>
                </a:cubicBezTo>
                <a:lnTo>
                  <a:pt x="8470130" y="1312248"/>
                </a:lnTo>
                <a:cubicBezTo>
                  <a:pt x="8470299" y="1312243"/>
                  <a:pt x="8470468" y="1312238"/>
                  <a:pt x="8470636" y="1312185"/>
                </a:cubicBezTo>
                <a:cubicBezTo>
                  <a:pt x="8514628" y="1003427"/>
                  <a:pt x="8735297" y="749863"/>
                  <a:pt x="9030178" y="651504"/>
                </a:cubicBezTo>
                <a:close/>
                <a:moveTo>
                  <a:pt x="7620280" y="605769"/>
                </a:moveTo>
                <a:lnTo>
                  <a:pt x="7637367" y="607392"/>
                </a:lnTo>
                <a:cubicBezTo>
                  <a:pt x="7669753" y="607919"/>
                  <a:pt x="7701646" y="610900"/>
                  <a:pt x="7732829" y="616457"/>
                </a:cubicBezTo>
                <a:cubicBezTo>
                  <a:pt x="7738405" y="616038"/>
                  <a:pt x="7743733" y="616986"/>
                  <a:pt x="7749042" y="617996"/>
                </a:cubicBezTo>
                <a:lnTo>
                  <a:pt x="7749159" y="619144"/>
                </a:lnTo>
                <a:cubicBezTo>
                  <a:pt x="8108009" y="678542"/>
                  <a:pt x="8389048" y="959319"/>
                  <a:pt x="8439324" y="1312185"/>
                </a:cubicBezTo>
                <a:cubicBezTo>
                  <a:pt x="8439492" y="1312238"/>
                  <a:pt x="8439661" y="1312243"/>
                  <a:pt x="8439830" y="1312248"/>
                </a:cubicBezTo>
                <a:lnTo>
                  <a:pt x="8440370" y="1318938"/>
                </a:lnTo>
                <a:cubicBezTo>
                  <a:pt x="8445427" y="1349182"/>
                  <a:pt x="8447877" y="1380067"/>
                  <a:pt x="8447834" y="1411395"/>
                </a:cubicBezTo>
                <a:cubicBezTo>
                  <a:pt x="8449146" y="1417025"/>
                  <a:pt x="8449205" y="1422694"/>
                  <a:pt x="8449205" y="1428376"/>
                </a:cubicBezTo>
                <a:cubicBezTo>
                  <a:pt x="8449205" y="1432198"/>
                  <a:pt x="8449178" y="1436014"/>
                  <a:pt x="8448612" y="1439816"/>
                </a:cubicBezTo>
                <a:lnTo>
                  <a:pt x="8448113" y="1439783"/>
                </a:lnTo>
                <a:lnTo>
                  <a:pt x="8448087" y="1440278"/>
                </a:lnTo>
                <a:lnTo>
                  <a:pt x="8430969" y="1438652"/>
                </a:lnTo>
                <a:cubicBezTo>
                  <a:pt x="8398594" y="1438125"/>
                  <a:pt x="8366714" y="1435144"/>
                  <a:pt x="8335542" y="1429590"/>
                </a:cubicBezTo>
                <a:cubicBezTo>
                  <a:pt x="8329965" y="1430009"/>
                  <a:pt x="8324636" y="1429061"/>
                  <a:pt x="8319325" y="1428050"/>
                </a:cubicBezTo>
                <a:lnTo>
                  <a:pt x="8319209" y="1426902"/>
                </a:lnTo>
                <a:cubicBezTo>
                  <a:pt x="7960358" y="1367503"/>
                  <a:pt x="7679319" y="1086726"/>
                  <a:pt x="7629044" y="733861"/>
                </a:cubicBezTo>
                <a:cubicBezTo>
                  <a:pt x="7628876" y="733808"/>
                  <a:pt x="7628708" y="733803"/>
                  <a:pt x="7628538" y="733798"/>
                </a:cubicBezTo>
                <a:lnTo>
                  <a:pt x="7628000" y="727122"/>
                </a:lnTo>
                <a:cubicBezTo>
                  <a:pt x="7622941" y="696872"/>
                  <a:pt x="7620490" y="665981"/>
                  <a:pt x="7620533" y="634646"/>
                </a:cubicBezTo>
                <a:cubicBezTo>
                  <a:pt x="7619221" y="629018"/>
                  <a:pt x="7619162" y="623351"/>
                  <a:pt x="7619162" y="617670"/>
                </a:cubicBezTo>
                <a:lnTo>
                  <a:pt x="7619756" y="606230"/>
                </a:lnTo>
                <a:lnTo>
                  <a:pt x="7620254" y="606263"/>
                </a:lnTo>
                <a:close/>
                <a:moveTo>
                  <a:pt x="7597529" y="605769"/>
                </a:moveTo>
                <a:lnTo>
                  <a:pt x="7597555" y="606263"/>
                </a:lnTo>
                <a:lnTo>
                  <a:pt x="7598053" y="606230"/>
                </a:lnTo>
                <a:lnTo>
                  <a:pt x="7598647" y="617670"/>
                </a:lnTo>
                <a:cubicBezTo>
                  <a:pt x="7598647" y="623351"/>
                  <a:pt x="7598588" y="629018"/>
                  <a:pt x="7597276" y="634646"/>
                </a:cubicBezTo>
                <a:cubicBezTo>
                  <a:pt x="7597319" y="665981"/>
                  <a:pt x="7594868" y="696872"/>
                  <a:pt x="7589809" y="727122"/>
                </a:cubicBezTo>
                <a:lnTo>
                  <a:pt x="7589271" y="733798"/>
                </a:lnTo>
                <a:cubicBezTo>
                  <a:pt x="7589101" y="733803"/>
                  <a:pt x="7588933" y="733808"/>
                  <a:pt x="7588765" y="733861"/>
                </a:cubicBezTo>
                <a:cubicBezTo>
                  <a:pt x="7538490" y="1086726"/>
                  <a:pt x="7257451" y="1367503"/>
                  <a:pt x="6898600" y="1426902"/>
                </a:cubicBezTo>
                <a:lnTo>
                  <a:pt x="6898484" y="1428050"/>
                </a:lnTo>
                <a:cubicBezTo>
                  <a:pt x="6893173" y="1429061"/>
                  <a:pt x="6887844" y="1430009"/>
                  <a:pt x="6882267" y="1429590"/>
                </a:cubicBezTo>
                <a:cubicBezTo>
                  <a:pt x="6851095" y="1435144"/>
                  <a:pt x="6819215" y="1438125"/>
                  <a:pt x="6786841" y="1438652"/>
                </a:cubicBezTo>
                <a:lnTo>
                  <a:pt x="6769722" y="1440278"/>
                </a:lnTo>
                <a:lnTo>
                  <a:pt x="6769696" y="1439783"/>
                </a:lnTo>
                <a:lnTo>
                  <a:pt x="6769197" y="1439816"/>
                </a:lnTo>
                <a:cubicBezTo>
                  <a:pt x="6768631" y="1436014"/>
                  <a:pt x="6768604" y="1432198"/>
                  <a:pt x="6768604" y="1428376"/>
                </a:cubicBezTo>
                <a:cubicBezTo>
                  <a:pt x="6768604" y="1422694"/>
                  <a:pt x="6768663" y="1417025"/>
                  <a:pt x="6769975" y="1411395"/>
                </a:cubicBezTo>
                <a:cubicBezTo>
                  <a:pt x="6769933" y="1380067"/>
                  <a:pt x="6772382" y="1349182"/>
                  <a:pt x="6777439" y="1318938"/>
                </a:cubicBezTo>
                <a:lnTo>
                  <a:pt x="6777979" y="1312248"/>
                </a:lnTo>
                <a:cubicBezTo>
                  <a:pt x="6778148" y="1312243"/>
                  <a:pt x="6778317" y="1312238"/>
                  <a:pt x="6778485" y="1312185"/>
                </a:cubicBezTo>
                <a:cubicBezTo>
                  <a:pt x="6828761" y="959319"/>
                  <a:pt x="7109800" y="678542"/>
                  <a:pt x="7468650" y="619144"/>
                </a:cubicBezTo>
                <a:lnTo>
                  <a:pt x="7468767" y="617996"/>
                </a:lnTo>
                <a:cubicBezTo>
                  <a:pt x="7474076" y="616986"/>
                  <a:pt x="7479404" y="616038"/>
                  <a:pt x="7484980" y="616457"/>
                </a:cubicBezTo>
                <a:cubicBezTo>
                  <a:pt x="7516163" y="610900"/>
                  <a:pt x="7548056" y="607919"/>
                  <a:pt x="7580442" y="607392"/>
                </a:cubicBezTo>
                <a:close/>
                <a:moveTo>
                  <a:pt x="5928129" y="605769"/>
                </a:moveTo>
                <a:lnTo>
                  <a:pt x="5945217" y="607392"/>
                </a:lnTo>
                <a:cubicBezTo>
                  <a:pt x="5977602" y="607919"/>
                  <a:pt x="6009495" y="610900"/>
                  <a:pt x="6040678" y="616457"/>
                </a:cubicBezTo>
                <a:cubicBezTo>
                  <a:pt x="6046254" y="616038"/>
                  <a:pt x="6051582" y="616986"/>
                  <a:pt x="6056891" y="617996"/>
                </a:cubicBezTo>
                <a:lnTo>
                  <a:pt x="6057008" y="619144"/>
                </a:lnTo>
                <a:cubicBezTo>
                  <a:pt x="6415858" y="678542"/>
                  <a:pt x="6696897" y="959319"/>
                  <a:pt x="6747174" y="1312185"/>
                </a:cubicBezTo>
                <a:cubicBezTo>
                  <a:pt x="6747341" y="1312238"/>
                  <a:pt x="6747511" y="1312243"/>
                  <a:pt x="6747679" y="1312248"/>
                </a:cubicBezTo>
                <a:lnTo>
                  <a:pt x="6748220" y="1318938"/>
                </a:lnTo>
                <a:cubicBezTo>
                  <a:pt x="6753276" y="1349182"/>
                  <a:pt x="6755726" y="1380067"/>
                  <a:pt x="6755684" y="1411395"/>
                </a:cubicBezTo>
                <a:cubicBezTo>
                  <a:pt x="6756996" y="1417025"/>
                  <a:pt x="6757054" y="1422694"/>
                  <a:pt x="6757054" y="1428376"/>
                </a:cubicBezTo>
                <a:cubicBezTo>
                  <a:pt x="6757054" y="1432198"/>
                  <a:pt x="6757027" y="1436014"/>
                  <a:pt x="6756461" y="1439816"/>
                </a:cubicBezTo>
                <a:lnTo>
                  <a:pt x="6755962" y="1439783"/>
                </a:lnTo>
                <a:lnTo>
                  <a:pt x="6755936" y="1440278"/>
                </a:lnTo>
                <a:lnTo>
                  <a:pt x="6738818" y="1438652"/>
                </a:lnTo>
                <a:cubicBezTo>
                  <a:pt x="6706444" y="1438125"/>
                  <a:pt x="6674563" y="1435144"/>
                  <a:pt x="6643391" y="1429590"/>
                </a:cubicBezTo>
                <a:cubicBezTo>
                  <a:pt x="6637814" y="1430009"/>
                  <a:pt x="6632485" y="1429061"/>
                  <a:pt x="6627175" y="1428050"/>
                </a:cubicBezTo>
                <a:lnTo>
                  <a:pt x="6627059" y="1426902"/>
                </a:lnTo>
                <a:cubicBezTo>
                  <a:pt x="6268207" y="1367503"/>
                  <a:pt x="5987168" y="1086726"/>
                  <a:pt x="5936893" y="733861"/>
                </a:cubicBezTo>
                <a:cubicBezTo>
                  <a:pt x="5936725" y="733808"/>
                  <a:pt x="5936557" y="733803"/>
                  <a:pt x="5936387" y="733798"/>
                </a:cubicBezTo>
                <a:lnTo>
                  <a:pt x="5935849" y="727122"/>
                </a:lnTo>
                <a:cubicBezTo>
                  <a:pt x="5930790" y="696872"/>
                  <a:pt x="5928340" y="665981"/>
                  <a:pt x="5928382" y="634646"/>
                </a:cubicBezTo>
                <a:cubicBezTo>
                  <a:pt x="5927070" y="629018"/>
                  <a:pt x="5927011" y="623351"/>
                  <a:pt x="5927011" y="617670"/>
                </a:cubicBezTo>
                <a:lnTo>
                  <a:pt x="5927605" y="606230"/>
                </a:lnTo>
                <a:lnTo>
                  <a:pt x="5928103" y="606263"/>
                </a:lnTo>
                <a:close/>
                <a:moveTo>
                  <a:pt x="5905378" y="605769"/>
                </a:moveTo>
                <a:lnTo>
                  <a:pt x="5905404" y="606263"/>
                </a:lnTo>
                <a:lnTo>
                  <a:pt x="5905902" y="606230"/>
                </a:lnTo>
                <a:lnTo>
                  <a:pt x="5906496" y="617670"/>
                </a:lnTo>
                <a:cubicBezTo>
                  <a:pt x="5906496" y="623351"/>
                  <a:pt x="5906438" y="629018"/>
                  <a:pt x="5905126" y="634646"/>
                </a:cubicBezTo>
                <a:cubicBezTo>
                  <a:pt x="5905168" y="665981"/>
                  <a:pt x="5902717" y="696872"/>
                  <a:pt x="5897659" y="727122"/>
                </a:cubicBezTo>
                <a:lnTo>
                  <a:pt x="5897120" y="733798"/>
                </a:lnTo>
                <a:cubicBezTo>
                  <a:pt x="5896951" y="733803"/>
                  <a:pt x="5896782" y="733808"/>
                  <a:pt x="5896615" y="733861"/>
                </a:cubicBezTo>
                <a:cubicBezTo>
                  <a:pt x="5846339" y="1086726"/>
                  <a:pt x="5565300" y="1367503"/>
                  <a:pt x="5206449" y="1426902"/>
                </a:cubicBezTo>
                <a:lnTo>
                  <a:pt x="5206334" y="1428050"/>
                </a:lnTo>
                <a:cubicBezTo>
                  <a:pt x="5201022" y="1429061"/>
                  <a:pt x="5195693" y="1430009"/>
                  <a:pt x="5190116" y="1429590"/>
                </a:cubicBezTo>
                <a:cubicBezTo>
                  <a:pt x="5158944" y="1435144"/>
                  <a:pt x="5127065" y="1438125"/>
                  <a:pt x="5094690" y="1438652"/>
                </a:cubicBezTo>
                <a:lnTo>
                  <a:pt x="5077571" y="1440278"/>
                </a:lnTo>
                <a:lnTo>
                  <a:pt x="5077545" y="1439783"/>
                </a:lnTo>
                <a:lnTo>
                  <a:pt x="5077046" y="1439816"/>
                </a:lnTo>
                <a:cubicBezTo>
                  <a:pt x="5076480" y="1436014"/>
                  <a:pt x="5076453" y="1432198"/>
                  <a:pt x="5076453" y="1428376"/>
                </a:cubicBezTo>
                <a:cubicBezTo>
                  <a:pt x="5076453" y="1422694"/>
                  <a:pt x="5076512" y="1417025"/>
                  <a:pt x="5077824" y="1411395"/>
                </a:cubicBezTo>
                <a:cubicBezTo>
                  <a:pt x="5077782" y="1380067"/>
                  <a:pt x="5080231" y="1349182"/>
                  <a:pt x="5085288" y="1318938"/>
                </a:cubicBezTo>
                <a:lnTo>
                  <a:pt x="5085828" y="1312248"/>
                </a:lnTo>
                <a:cubicBezTo>
                  <a:pt x="5085997" y="1312243"/>
                  <a:pt x="5086166" y="1312238"/>
                  <a:pt x="5086334" y="1312185"/>
                </a:cubicBezTo>
                <a:cubicBezTo>
                  <a:pt x="5136610" y="959319"/>
                  <a:pt x="5417649" y="678542"/>
                  <a:pt x="5776501" y="619144"/>
                </a:cubicBezTo>
                <a:lnTo>
                  <a:pt x="5776617" y="617996"/>
                </a:lnTo>
                <a:cubicBezTo>
                  <a:pt x="5781926" y="616986"/>
                  <a:pt x="5787253" y="616038"/>
                  <a:pt x="5792829" y="616457"/>
                </a:cubicBezTo>
                <a:cubicBezTo>
                  <a:pt x="5824013" y="610900"/>
                  <a:pt x="5855905" y="607919"/>
                  <a:pt x="5888291" y="607392"/>
                </a:cubicBezTo>
                <a:close/>
                <a:moveTo>
                  <a:pt x="4235979" y="605769"/>
                </a:moveTo>
                <a:lnTo>
                  <a:pt x="4253065" y="607392"/>
                </a:lnTo>
                <a:cubicBezTo>
                  <a:pt x="4285451" y="607919"/>
                  <a:pt x="4317343" y="610900"/>
                  <a:pt x="4348528" y="616457"/>
                </a:cubicBezTo>
                <a:cubicBezTo>
                  <a:pt x="4354104" y="616038"/>
                  <a:pt x="4359431" y="616986"/>
                  <a:pt x="4364739" y="617996"/>
                </a:cubicBezTo>
                <a:lnTo>
                  <a:pt x="4364856" y="619144"/>
                </a:lnTo>
                <a:cubicBezTo>
                  <a:pt x="4723707" y="678542"/>
                  <a:pt x="5004746" y="959319"/>
                  <a:pt x="5055022" y="1312185"/>
                </a:cubicBezTo>
                <a:cubicBezTo>
                  <a:pt x="5055190" y="1312238"/>
                  <a:pt x="5055359" y="1312243"/>
                  <a:pt x="5055528" y="1312248"/>
                </a:cubicBezTo>
                <a:lnTo>
                  <a:pt x="5056068" y="1318938"/>
                </a:lnTo>
                <a:cubicBezTo>
                  <a:pt x="5061125" y="1349182"/>
                  <a:pt x="5063574" y="1380067"/>
                  <a:pt x="5063532" y="1411395"/>
                </a:cubicBezTo>
                <a:cubicBezTo>
                  <a:pt x="5064844" y="1417025"/>
                  <a:pt x="5064903" y="1422694"/>
                  <a:pt x="5064903" y="1428376"/>
                </a:cubicBezTo>
                <a:cubicBezTo>
                  <a:pt x="5064903" y="1432198"/>
                  <a:pt x="5064876" y="1436014"/>
                  <a:pt x="5064310" y="1439816"/>
                </a:cubicBezTo>
                <a:lnTo>
                  <a:pt x="5063811" y="1439783"/>
                </a:lnTo>
                <a:lnTo>
                  <a:pt x="5063785" y="1440278"/>
                </a:lnTo>
                <a:lnTo>
                  <a:pt x="5046666" y="1438652"/>
                </a:lnTo>
                <a:cubicBezTo>
                  <a:pt x="5014292" y="1438125"/>
                  <a:pt x="4982412" y="1435144"/>
                  <a:pt x="4951241" y="1429590"/>
                </a:cubicBezTo>
                <a:cubicBezTo>
                  <a:pt x="4945663" y="1430009"/>
                  <a:pt x="4940334" y="1429061"/>
                  <a:pt x="4935023" y="1428050"/>
                </a:cubicBezTo>
                <a:lnTo>
                  <a:pt x="4934907" y="1426902"/>
                </a:lnTo>
                <a:cubicBezTo>
                  <a:pt x="4576056" y="1367503"/>
                  <a:pt x="4295017" y="1086726"/>
                  <a:pt x="4244741" y="733861"/>
                </a:cubicBezTo>
                <a:cubicBezTo>
                  <a:pt x="4244574" y="733808"/>
                  <a:pt x="4244405" y="733803"/>
                  <a:pt x="4244236" y="733798"/>
                </a:cubicBezTo>
                <a:lnTo>
                  <a:pt x="4243697" y="727122"/>
                </a:lnTo>
                <a:cubicBezTo>
                  <a:pt x="4238639" y="696872"/>
                  <a:pt x="4236188" y="665981"/>
                  <a:pt x="4236230" y="634646"/>
                </a:cubicBezTo>
                <a:cubicBezTo>
                  <a:pt x="4234918" y="629018"/>
                  <a:pt x="4234860" y="623351"/>
                  <a:pt x="4234860" y="617670"/>
                </a:cubicBezTo>
                <a:lnTo>
                  <a:pt x="4235454" y="606230"/>
                </a:lnTo>
                <a:lnTo>
                  <a:pt x="4235952" y="606263"/>
                </a:lnTo>
                <a:close/>
                <a:moveTo>
                  <a:pt x="4213227" y="605769"/>
                </a:moveTo>
                <a:lnTo>
                  <a:pt x="4213253" y="606263"/>
                </a:lnTo>
                <a:lnTo>
                  <a:pt x="4213751" y="606230"/>
                </a:lnTo>
                <a:lnTo>
                  <a:pt x="4214345" y="617670"/>
                </a:lnTo>
                <a:cubicBezTo>
                  <a:pt x="4214345" y="623351"/>
                  <a:pt x="4214286" y="629018"/>
                  <a:pt x="4212974" y="634646"/>
                </a:cubicBezTo>
                <a:cubicBezTo>
                  <a:pt x="4213016" y="665981"/>
                  <a:pt x="4210566" y="696872"/>
                  <a:pt x="4205507" y="727122"/>
                </a:cubicBezTo>
                <a:lnTo>
                  <a:pt x="4204969" y="733798"/>
                </a:lnTo>
                <a:cubicBezTo>
                  <a:pt x="4204799" y="733803"/>
                  <a:pt x="4204631" y="733808"/>
                  <a:pt x="4204463" y="733861"/>
                </a:cubicBezTo>
                <a:cubicBezTo>
                  <a:pt x="4154188" y="1086726"/>
                  <a:pt x="3873149" y="1367503"/>
                  <a:pt x="3514297" y="1426902"/>
                </a:cubicBezTo>
                <a:lnTo>
                  <a:pt x="3514181" y="1428050"/>
                </a:lnTo>
                <a:cubicBezTo>
                  <a:pt x="3508871" y="1429061"/>
                  <a:pt x="3503542" y="1430009"/>
                  <a:pt x="3497965" y="1429590"/>
                </a:cubicBezTo>
                <a:cubicBezTo>
                  <a:pt x="3466793" y="1435144"/>
                  <a:pt x="3434912" y="1438125"/>
                  <a:pt x="3402538" y="1438652"/>
                </a:cubicBezTo>
                <a:lnTo>
                  <a:pt x="3385420" y="1440278"/>
                </a:lnTo>
                <a:lnTo>
                  <a:pt x="3385394" y="1439783"/>
                </a:lnTo>
                <a:lnTo>
                  <a:pt x="3384895" y="1439816"/>
                </a:lnTo>
                <a:cubicBezTo>
                  <a:pt x="3384329" y="1436014"/>
                  <a:pt x="3384302" y="1432198"/>
                  <a:pt x="3384302" y="1428376"/>
                </a:cubicBezTo>
                <a:cubicBezTo>
                  <a:pt x="3384302" y="1422694"/>
                  <a:pt x="3384360" y="1417025"/>
                  <a:pt x="3385672" y="1411395"/>
                </a:cubicBezTo>
                <a:cubicBezTo>
                  <a:pt x="3385630" y="1380067"/>
                  <a:pt x="3388080" y="1349182"/>
                  <a:pt x="3393136" y="1318938"/>
                </a:cubicBezTo>
                <a:lnTo>
                  <a:pt x="3393677" y="1312248"/>
                </a:lnTo>
                <a:cubicBezTo>
                  <a:pt x="3393845" y="1312243"/>
                  <a:pt x="3394015" y="1312238"/>
                  <a:pt x="3394182" y="1312185"/>
                </a:cubicBezTo>
                <a:cubicBezTo>
                  <a:pt x="3444459" y="959319"/>
                  <a:pt x="3725498" y="678542"/>
                  <a:pt x="4084348" y="619144"/>
                </a:cubicBezTo>
                <a:lnTo>
                  <a:pt x="4084465" y="617996"/>
                </a:lnTo>
                <a:cubicBezTo>
                  <a:pt x="4089774" y="616986"/>
                  <a:pt x="4095102" y="616038"/>
                  <a:pt x="4100678" y="616457"/>
                </a:cubicBezTo>
                <a:cubicBezTo>
                  <a:pt x="4131861" y="610900"/>
                  <a:pt x="4163754" y="607919"/>
                  <a:pt x="4196139" y="607392"/>
                </a:cubicBezTo>
                <a:close/>
                <a:moveTo>
                  <a:pt x="2543827" y="605769"/>
                </a:moveTo>
                <a:lnTo>
                  <a:pt x="2560914" y="607392"/>
                </a:lnTo>
                <a:cubicBezTo>
                  <a:pt x="2593300" y="607919"/>
                  <a:pt x="2625192" y="610900"/>
                  <a:pt x="2656376" y="616457"/>
                </a:cubicBezTo>
                <a:cubicBezTo>
                  <a:pt x="2661952" y="616038"/>
                  <a:pt x="2667280" y="616986"/>
                  <a:pt x="2672588" y="617996"/>
                </a:cubicBezTo>
                <a:lnTo>
                  <a:pt x="2672706" y="619144"/>
                </a:lnTo>
                <a:cubicBezTo>
                  <a:pt x="3031556" y="678542"/>
                  <a:pt x="3312595" y="959319"/>
                  <a:pt x="3362871" y="1312185"/>
                </a:cubicBezTo>
                <a:cubicBezTo>
                  <a:pt x="3363039" y="1312238"/>
                  <a:pt x="3363208" y="1312243"/>
                  <a:pt x="3363377" y="1312248"/>
                </a:cubicBezTo>
                <a:lnTo>
                  <a:pt x="3363917" y="1318938"/>
                </a:lnTo>
                <a:cubicBezTo>
                  <a:pt x="3368974" y="1349182"/>
                  <a:pt x="3371423" y="1380067"/>
                  <a:pt x="3371381" y="1411395"/>
                </a:cubicBezTo>
                <a:cubicBezTo>
                  <a:pt x="3372693" y="1417025"/>
                  <a:pt x="3372752" y="1422694"/>
                  <a:pt x="3372752" y="1428376"/>
                </a:cubicBezTo>
                <a:cubicBezTo>
                  <a:pt x="3372752" y="1432198"/>
                  <a:pt x="3372725" y="1436014"/>
                  <a:pt x="3372159" y="1439816"/>
                </a:cubicBezTo>
                <a:lnTo>
                  <a:pt x="3371660" y="1439783"/>
                </a:lnTo>
                <a:lnTo>
                  <a:pt x="3371634" y="1440278"/>
                </a:lnTo>
                <a:lnTo>
                  <a:pt x="3354515" y="1438652"/>
                </a:lnTo>
                <a:cubicBezTo>
                  <a:pt x="3322141" y="1438125"/>
                  <a:pt x="3290261" y="1435144"/>
                  <a:pt x="3259089" y="1429590"/>
                </a:cubicBezTo>
                <a:cubicBezTo>
                  <a:pt x="3253512" y="1430009"/>
                  <a:pt x="3248183" y="1429061"/>
                  <a:pt x="3242872" y="1428050"/>
                </a:cubicBezTo>
                <a:lnTo>
                  <a:pt x="3242756" y="1426902"/>
                </a:lnTo>
                <a:cubicBezTo>
                  <a:pt x="2883905" y="1367503"/>
                  <a:pt x="2602866" y="1086726"/>
                  <a:pt x="2552590" y="733861"/>
                </a:cubicBezTo>
                <a:cubicBezTo>
                  <a:pt x="2552423" y="733808"/>
                  <a:pt x="2552254" y="733803"/>
                  <a:pt x="2552085" y="733798"/>
                </a:cubicBezTo>
                <a:lnTo>
                  <a:pt x="2551547" y="727122"/>
                </a:lnTo>
                <a:cubicBezTo>
                  <a:pt x="2546488" y="696872"/>
                  <a:pt x="2544037" y="665981"/>
                  <a:pt x="2544079" y="634646"/>
                </a:cubicBezTo>
                <a:cubicBezTo>
                  <a:pt x="2542767" y="629018"/>
                  <a:pt x="2542709" y="623351"/>
                  <a:pt x="2542709" y="617670"/>
                </a:cubicBezTo>
                <a:lnTo>
                  <a:pt x="2543303" y="606230"/>
                </a:lnTo>
                <a:lnTo>
                  <a:pt x="2543801" y="606263"/>
                </a:lnTo>
                <a:close/>
                <a:moveTo>
                  <a:pt x="2521076" y="605769"/>
                </a:moveTo>
                <a:lnTo>
                  <a:pt x="2521102" y="606263"/>
                </a:lnTo>
                <a:lnTo>
                  <a:pt x="2521600" y="606230"/>
                </a:lnTo>
                <a:lnTo>
                  <a:pt x="2522194" y="617670"/>
                </a:lnTo>
                <a:cubicBezTo>
                  <a:pt x="2522194" y="623351"/>
                  <a:pt x="2522135" y="629018"/>
                  <a:pt x="2520823" y="634646"/>
                </a:cubicBezTo>
                <a:cubicBezTo>
                  <a:pt x="2520865" y="665981"/>
                  <a:pt x="2518415" y="696872"/>
                  <a:pt x="2513356" y="727122"/>
                </a:cubicBezTo>
                <a:lnTo>
                  <a:pt x="2512818" y="733798"/>
                </a:lnTo>
                <a:cubicBezTo>
                  <a:pt x="2512648" y="733803"/>
                  <a:pt x="2512480" y="733808"/>
                  <a:pt x="2512312" y="733861"/>
                </a:cubicBezTo>
                <a:cubicBezTo>
                  <a:pt x="2462037" y="1086726"/>
                  <a:pt x="2180998" y="1367503"/>
                  <a:pt x="1822147" y="1426902"/>
                </a:cubicBezTo>
                <a:lnTo>
                  <a:pt x="1822030" y="1428050"/>
                </a:lnTo>
                <a:cubicBezTo>
                  <a:pt x="1816720" y="1429061"/>
                  <a:pt x="1811391" y="1430009"/>
                  <a:pt x="1805814" y="1429590"/>
                </a:cubicBezTo>
                <a:cubicBezTo>
                  <a:pt x="1774642" y="1435144"/>
                  <a:pt x="1742762" y="1438125"/>
                  <a:pt x="1710387" y="1438652"/>
                </a:cubicBezTo>
                <a:lnTo>
                  <a:pt x="1693269" y="1440278"/>
                </a:lnTo>
                <a:lnTo>
                  <a:pt x="1693243" y="1439783"/>
                </a:lnTo>
                <a:lnTo>
                  <a:pt x="1692744" y="1439816"/>
                </a:lnTo>
                <a:cubicBezTo>
                  <a:pt x="1692178" y="1436014"/>
                  <a:pt x="1692151" y="1432198"/>
                  <a:pt x="1692151" y="1428376"/>
                </a:cubicBezTo>
                <a:cubicBezTo>
                  <a:pt x="1692151" y="1422694"/>
                  <a:pt x="1692209" y="1417025"/>
                  <a:pt x="1693521" y="1411395"/>
                </a:cubicBezTo>
                <a:cubicBezTo>
                  <a:pt x="1693479" y="1380067"/>
                  <a:pt x="1695929" y="1349182"/>
                  <a:pt x="1700985" y="1318938"/>
                </a:cubicBezTo>
                <a:lnTo>
                  <a:pt x="1701526" y="1312248"/>
                </a:lnTo>
                <a:cubicBezTo>
                  <a:pt x="1701694" y="1312243"/>
                  <a:pt x="1701864" y="1312238"/>
                  <a:pt x="1702031" y="1312185"/>
                </a:cubicBezTo>
                <a:cubicBezTo>
                  <a:pt x="1752308" y="959319"/>
                  <a:pt x="2033347" y="678542"/>
                  <a:pt x="2392197" y="619144"/>
                </a:cubicBezTo>
                <a:lnTo>
                  <a:pt x="2392314" y="617996"/>
                </a:lnTo>
                <a:cubicBezTo>
                  <a:pt x="2397623" y="616986"/>
                  <a:pt x="2402951" y="616038"/>
                  <a:pt x="2408527" y="616457"/>
                </a:cubicBezTo>
                <a:cubicBezTo>
                  <a:pt x="2439710" y="610900"/>
                  <a:pt x="2471603" y="607919"/>
                  <a:pt x="2503988" y="607392"/>
                </a:cubicBezTo>
                <a:close/>
                <a:moveTo>
                  <a:pt x="851676" y="605769"/>
                </a:moveTo>
                <a:lnTo>
                  <a:pt x="868763" y="607392"/>
                </a:lnTo>
                <a:cubicBezTo>
                  <a:pt x="901149" y="607919"/>
                  <a:pt x="933041" y="610900"/>
                  <a:pt x="964225" y="616457"/>
                </a:cubicBezTo>
                <a:cubicBezTo>
                  <a:pt x="969801" y="616038"/>
                  <a:pt x="975129" y="616986"/>
                  <a:pt x="980437" y="617996"/>
                </a:cubicBezTo>
                <a:lnTo>
                  <a:pt x="980555" y="619144"/>
                </a:lnTo>
                <a:cubicBezTo>
                  <a:pt x="1339405" y="678542"/>
                  <a:pt x="1620444" y="959319"/>
                  <a:pt x="1670720" y="1312185"/>
                </a:cubicBezTo>
                <a:cubicBezTo>
                  <a:pt x="1670888" y="1312238"/>
                  <a:pt x="1671057" y="1312243"/>
                  <a:pt x="1671226" y="1312248"/>
                </a:cubicBezTo>
                <a:lnTo>
                  <a:pt x="1671766" y="1318938"/>
                </a:lnTo>
                <a:cubicBezTo>
                  <a:pt x="1676823" y="1349182"/>
                  <a:pt x="1679272" y="1380067"/>
                  <a:pt x="1679230" y="1411395"/>
                </a:cubicBezTo>
                <a:cubicBezTo>
                  <a:pt x="1680542" y="1417025"/>
                  <a:pt x="1680601" y="1422694"/>
                  <a:pt x="1680601" y="1428376"/>
                </a:cubicBezTo>
                <a:cubicBezTo>
                  <a:pt x="1680601" y="1432198"/>
                  <a:pt x="1680574" y="1436014"/>
                  <a:pt x="1680008" y="1439816"/>
                </a:cubicBezTo>
                <a:lnTo>
                  <a:pt x="1679509" y="1439783"/>
                </a:lnTo>
                <a:lnTo>
                  <a:pt x="1679483" y="1440278"/>
                </a:lnTo>
                <a:lnTo>
                  <a:pt x="1662364" y="1438652"/>
                </a:lnTo>
                <a:cubicBezTo>
                  <a:pt x="1629990" y="1438125"/>
                  <a:pt x="1598110" y="1435144"/>
                  <a:pt x="1566938" y="1429590"/>
                </a:cubicBezTo>
                <a:cubicBezTo>
                  <a:pt x="1561361" y="1430009"/>
                  <a:pt x="1556032" y="1429061"/>
                  <a:pt x="1550721" y="1428050"/>
                </a:cubicBezTo>
                <a:lnTo>
                  <a:pt x="1550605" y="1426902"/>
                </a:lnTo>
                <a:cubicBezTo>
                  <a:pt x="1191754" y="1367503"/>
                  <a:pt x="910715" y="1086726"/>
                  <a:pt x="860439" y="733861"/>
                </a:cubicBezTo>
                <a:cubicBezTo>
                  <a:pt x="860272" y="733808"/>
                  <a:pt x="860103" y="733803"/>
                  <a:pt x="859934" y="733798"/>
                </a:cubicBezTo>
                <a:lnTo>
                  <a:pt x="859396" y="727122"/>
                </a:lnTo>
                <a:cubicBezTo>
                  <a:pt x="854337" y="696872"/>
                  <a:pt x="851886" y="665981"/>
                  <a:pt x="851928" y="634646"/>
                </a:cubicBezTo>
                <a:cubicBezTo>
                  <a:pt x="850616" y="629018"/>
                  <a:pt x="850558" y="623351"/>
                  <a:pt x="850558" y="617670"/>
                </a:cubicBezTo>
                <a:lnTo>
                  <a:pt x="851152" y="606230"/>
                </a:lnTo>
                <a:lnTo>
                  <a:pt x="851650" y="606263"/>
                </a:lnTo>
                <a:close/>
                <a:moveTo>
                  <a:pt x="828925" y="605769"/>
                </a:moveTo>
                <a:lnTo>
                  <a:pt x="828951" y="606263"/>
                </a:lnTo>
                <a:lnTo>
                  <a:pt x="829449" y="606230"/>
                </a:lnTo>
                <a:lnTo>
                  <a:pt x="830043" y="617670"/>
                </a:lnTo>
                <a:cubicBezTo>
                  <a:pt x="830043" y="623351"/>
                  <a:pt x="829984" y="629018"/>
                  <a:pt x="828672" y="634646"/>
                </a:cubicBezTo>
                <a:cubicBezTo>
                  <a:pt x="828714" y="665981"/>
                  <a:pt x="826264" y="696872"/>
                  <a:pt x="821205" y="727122"/>
                </a:cubicBezTo>
                <a:lnTo>
                  <a:pt x="820667" y="733798"/>
                </a:lnTo>
                <a:cubicBezTo>
                  <a:pt x="820497" y="733803"/>
                  <a:pt x="820329" y="733808"/>
                  <a:pt x="820161" y="733861"/>
                </a:cubicBezTo>
                <a:cubicBezTo>
                  <a:pt x="769886" y="1086726"/>
                  <a:pt x="488847" y="1367503"/>
                  <a:pt x="129995" y="1426902"/>
                </a:cubicBezTo>
                <a:lnTo>
                  <a:pt x="129879" y="1428050"/>
                </a:lnTo>
                <a:cubicBezTo>
                  <a:pt x="124569" y="1429061"/>
                  <a:pt x="119240" y="1430009"/>
                  <a:pt x="113663" y="1429590"/>
                </a:cubicBezTo>
                <a:cubicBezTo>
                  <a:pt x="82491" y="1435144"/>
                  <a:pt x="50611" y="1438125"/>
                  <a:pt x="18236" y="1438652"/>
                </a:cubicBezTo>
                <a:lnTo>
                  <a:pt x="1118" y="1440278"/>
                </a:lnTo>
                <a:lnTo>
                  <a:pt x="1092" y="1439783"/>
                </a:lnTo>
                <a:lnTo>
                  <a:pt x="593" y="1439816"/>
                </a:lnTo>
                <a:cubicBezTo>
                  <a:pt x="27" y="1436014"/>
                  <a:pt x="0" y="1432198"/>
                  <a:pt x="0" y="1428376"/>
                </a:cubicBezTo>
                <a:cubicBezTo>
                  <a:pt x="0" y="1422694"/>
                  <a:pt x="58" y="1417025"/>
                  <a:pt x="1370" y="1411395"/>
                </a:cubicBezTo>
                <a:cubicBezTo>
                  <a:pt x="1328" y="1380067"/>
                  <a:pt x="3778" y="1349182"/>
                  <a:pt x="8835" y="1318938"/>
                </a:cubicBezTo>
                <a:lnTo>
                  <a:pt x="9375" y="1312248"/>
                </a:lnTo>
                <a:cubicBezTo>
                  <a:pt x="9543" y="1312243"/>
                  <a:pt x="9713" y="1312238"/>
                  <a:pt x="9880" y="1312185"/>
                </a:cubicBezTo>
                <a:cubicBezTo>
                  <a:pt x="60157" y="959319"/>
                  <a:pt x="341196" y="678542"/>
                  <a:pt x="700046" y="619144"/>
                </a:cubicBezTo>
                <a:lnTo>
                  <a:pt x="700163" y="617996"/>
                </a:lnTo>
                <a:cubicBezTo>
                  <a:pt x="705472" y="616986"/>
                  <a:pt x="710800" y="616038"/>
                  <a:pt x="716376" y="616457"/>
                </a:cubicBezTo>
                <a:cubicBezTo>
                  <a:pt x="747559" y="610900"/>
                  <a:pt x="779452" y="607919"/>
                  <a:pt x="811837" y="607392"/>
                </a:cubicBezTo>
                <a:close/>
                <a:moveTo>
                  <a:pt x="8824701" y="0"/>
                </a:moveTo>
                <a:lnTo>
                  <a:pt x="9033411" y="0"/>
                </a:lnTo>
                <a:cubicBezTo>
                  <a:pt x="9066347" y="30426"/>
                  <a:pt x="9096640" y="63469"/>
                  <a:pt x="9123965" y="98781"/>
                </a:cubicBezTo>
                <a:lnTo>
                  <a:pt x="9139239" y="122382"/>
                </a:lnTo>
                <a:lnTo>
                  <a:pt x="9139239" y="425734"/>
                </a:lnTo>
                <a:lnTo>
                  <a:pt x="9104305" y="314451"/>
                </a:lnTo>
                <a:cubicBezTo>
                  <a:pt x="9046997" y="183490"/>
                  <a:pt x="8948803" y="73504"/>
                  <a:pt x="8824701" y="0"/>
                </a:cubicBezTo>
                <a:close/>
                <a:moveTo>
                  <a:pt x="8494877" y="0"/>
                </a:moveTo>
                <a:lnTo>
                  <a:pt x="8628893" y="0"/>
                </a:lnTo>
                <a:cubicBezTo>
                  <a:pt x="8697052" y="198004"/>
                  <a:pt x="8856086" y="355591"/>
                  <a:pt x="9058275" y="426756"/>
                </a:cubicBezTo>
                <a:lnTo>
                  <a:pt x="9139239" y="449526"/>
                </a:lnTo>
                <a:lnTo>
                  <a:pt x="9139239" y="577136"/>
                </a:lnTo>
                <a:lnTo>
                  <a:pt x="9043252" y="554355"/>
                </a:lnTo>
                <a:cubicBezTo>
                  <a:pt x="8776836" y="470904"/>
                  <a:pt x="8569058" y="262348"/>
                  <a:pt x="8494877" y="0"/>
                </a:cubicBezTo>
                <a:close/>
                <a:moveTo>
                  <a:pt x="7876547" y="0"/>
                </a:moveTo>
                <a:lnTo>
                  <a:pt x="8085257" y="0"/>
                </a:lnTo>
                <a:cubicBezTo>
                  <a:pt x="7919787" y="98005"/>
                  <a:pt x="7800378" y="260867"/>
                  <a:pt x="7762527" y="451830"/>
                </a:cubicBezTo>
                <a:cubicBezTo>
                  <a:pt x="8006579" y="399791"/>
                  <a:pt x="8203169" y="226290"/>
                  <a:pt x="8281065" y="0"/>
                </a:cubicBezTo>
                <a:lnTo>
                  <a:pt x="8415081" y="0"/>
                </a:lnTo>
                <a:cubicBezTo>
                  <a:pt x="8330303" y="299826"/>
                  <a:pt x="8071031" y="529393"/>
                  <a:pt x="7749156" y="582253"/>
                </a:cubicBezTo>
                <a:lnTo>
                  <a:pt x="7749040" y="583392"/>
                </a:lnTo>
                <a:cubicBezTo>
                  <a:pt x="7743729" y="584395"/>
                  <a:pt x="7738400" y="585336"/>
                  <a:pt x="7732823" y="584920"/>
                </a:cubicBezTo>
                <a:cubicBezTo>
                  <a:pt x="7701651" y="590430"/>
                  <a:pt x="7669771" y="593388"/>
                  <a:pt x="7637396" y="593911"/>
                </a:cubicBezTo>
                <a:lnTo>
                  <a:pt x="7620278" y="595524"/>
                </a:lnTo>
                <a:lnTo>
                  <a:pt x="7620252" y="595033"/>
                </a:lnTo>
                <a:lnTo>
                  <a:pt x="7619753" y="595066"/>
                </a:lnTo>
                <a:cubicBezTo>
                  <a:pt x="7619187" y="591293"/>
                  <a:pt x="7619160" y="587507"/>
                  <a:pt x="7619160" y="583715"/>
                </a:cubicBezTo>
                <a:cubicBezTo>
                  <a:pt x="7619160" y="578078"/>
                  <a:pt x="7619219" y="572454"/>
                  <a:pt x="7620531" y="566868"/>
                </a:cubicBezTo>
                <a:cubicBezTo>
                  <a:pt x="7620488" y="535786"/>
                  <a:pt x="7622938" y="505143"/>
                  <a:pt x="7627995" y="475137"/>
                </a:cubicBezTo>
                <a:lnTo>
                  <a:pt x="7628535" y="468500"/>
                </a:lnTo>
                <a:cubicBezTo>
                  <a:pt x="7628704" y="468495"/>
                  <a:pt x="7628873" y="468490"/>
                  <a:pt x="7629040" y="468437"/>
                </a:cubicBezTo>
                <a:cubicBezTo>
                  <a:pt x="7655343" y="285283"/>
                  <a:pt x="7744803" y="121704"/>
                  <a:pt x="7876547" y="0"/>
                </a:cubicBezTo>
                <a:close/>
                <a:moveTo>
                  <a:pt x="6802727" y="0"/>
                </a:moveTo>
                <a:lnTo>
                  <a:pt x="6936742" y="0"/>
                </a:lnTo>
                <a:cubicBezTo>
                  <a:pt x="7014638" y="226290"/>
                  <a:pt x="7211228" y="399791"/>
                  <a:pt x="7455280" y="451830"/>
                </a:cubicBezTo>
                <a:cubicBezTo>
                  <a:pt x="7417429" y="260867"/>
                  <a:pt x="7298020" y="98005"/>
                  <a:pt x="7132550" y="0"/>
                </a:cubicBezTo>
                <a:lnTo>
                  <a:pt x="7341259" y="0"/>
                </a:lnTo>
                <a:cubicBezTo>
                  <a:pt x="7473003" y="121704"/>
                  <a:pt x="7562464" y="285283"/>
                  <a:pt x="7588766" y="468437"/>
                </a:cubicBezTo>
                <a:cubicBezTo>
                  <a:pt x="7588934" y="468490"/>
                  <a:pt x="7589103" y="468495"/>
                  <a:pt x="7589272" y="468500"/>
                </a:cubicBezTo>
                <a:lnTo>
                  <a:pt x="7589812" y="475137"/>
                </a:lnTo>
                <a:cubicBezTo>
                  <a:pt x="7594869" y="505143"/>
                  <a:pt x="7597319" y="535786"/>
                  <a:pt x="7597276" y="566868"/>
                </a:cubicBezTo>
                <a:cubicBezTo>
                  <a:pt x="7598588" y="572454"/>
                  <a:pt x="7598647" y="578078"/>
                  <a:pt x="7598647" y="583715"/>
                </a:cubicBezTo>
                <a:cubicBezTo>
                  <a:pt x="7598647" y="587507"/>
                  <a:pt x="7598620" y="591293"/>
                  <a:pt x="7598054" y="595066"/>
                </a:cubicBezTo>
                <a:lnTo>
                  <a:pt x="7597555" y="595033"/>
                </a:lnTo>
                <a:lnTo>
                  <a:pt x="7597529" y="595524"/>
                </a:lnTo>
                <a:lnTo>
                  <a:pt x="7580411" y="593911"/>
                </a:lnTo>
                <a:cubicBezTo>
                  <a:pt x="7548036" y="593388"/>
                  <a:pt x="7516156" y="590430"/>
                  <a:pt x="7484984" y="584920"/>
                </a:cubicBezTo>
                <a:cubicBezTo>
                  <a:pt x="7479407" y="585336"/>
                  <a:pt x="7474078" y="584395"/>
                  <a:pt x="7468767" y="583392"/>
                </a:cubicBezTo>
                <a:lnTo>
                  <a:pt x="7468651" y="582253"/>
                </a:lnTo>
                <a:cubicBezTo>
                  <a:pt x="7146776" y="529393"/>
                  <a:pt x="6887504" y="299826"/>
                  <a:pt x="6802727" y="0"/>
                </a:cubicBezTo>
                <a:close/>
                <a:moveTo>
                  <a:pt x="6184397" y="0"/>
                </a:moveTo>
                <a:lnTo>
                  <a:pt x="6393106" y="0"/>
                </a:lnTo>
                <a:cubicBezTo>
                  <a:pt x="6227636" y="98005"/>
                  <a:pt x="6108227" y="260867"/>
                  <a:pt x="6070376" y="451830"/>
                </a:cubicBezTo>
                <a:cubicBezTo>
                  <a:pt x="6314429" y="399791"/>
                  <a:pt x="6511018" y="226290"/>
                  <a:pt x="6588914" y="0"/>
                </a:cubicBezTo>
                <a:lnTo>
                  <a:pt x="6722931" y="0"/>
                </a:lnTo>
                <a:cubicBezTo>
                  <a:pt x="6638152" y="299826"/>
                  <a:pt x="6378880" y="529393"/>
                  <a:pt x="6057005" y="582253"/>
                </a:cubicBezTo>
                <a:lnTo>
                  <a:pt x="6056889" y="583392"/>
                </a:lnTo>
                <a:cubicBezTo>
                  <a:pt x="6051578" y="584395"/>
                  <a:pt x="6046249" y="585336"/>
                  <a:pt x="6040672" y="584920"/>
                </a:cubicBezTo>
                <a:cubicBezTo>
                  <a:pt x="6009500" y="590430"/>
                  <a:pt x="5977620" y="593388"/>
                  <a:pt x="5945246" y="593911"/>
                </a:cubicBezTo>
                <a:lnTo>
                  <a:pt x="5928127" y="595524"/>
                </a:lnTo>
                <a:lnTo>
                  <a:pt x="5928101" y="595033"/>
                </a:lnTo>
                <a:lnTo>
                  <a:pt x="5927602" y="595066"/>
                </a:lnTo>
                <a:cubicBezTo>
                  <a:pt x="5927036" y="591293"/>
                  <a:pt x="5927009" y="587507"/>
                  <a:pt x="5927009" y="583715"/>
                </a:cubicBezTo>
                <a:cubicBezTo>
                  <a:pt x="5927009" y="578078"/>
                  <a:pt x="5927068" y="572454"/>
                  <a:pt x="5928380" y="566868"/>
                </a:cubicBezTo>
                <a:cubicBezTo>
                  <a:pt x="5928338" y="535786"/>
                  <a:pt x="5930787" y="505143"/>
                  <a:pt x="5935844" y="475137"/>
                </a:cubicBezTo>
                <a:lnTo>
                  <a:pt x="5936384" y="468500"/>
                </a:lnTo>
                <a:cubicBezTo>
                  <a:pt x="5936553" y="468495"/>
                  <a:pt x="5936722" y="468490"/>
                  <a:pt x="5936890" y="468437"/>
                </a:cubicBezTo>
                <a:cubicBezTo>
                  <a:pt x="5963192" y="285283"/>
                  <a:pt x="6052653" y="121703"/>
                  <a:pt x="6184397" y="0"/>
                </a:cubicBezTo>
                <a:close/>
                <a:moveTo>
                  <a:pt x="5110576" y="0"/>
                </a:moveTo>
                <a:lnTo>
                  <a:pt x="5244592" y="0"/>
                </a:lnTo>
                <a:cubicBezTo>
                  <a:pt x="5322488" y="226290"/>
                  <a:pt x="5519077" y="399791"/>
                  <a:pt x="5763129" y="451830"/>
                </a:cubicBezTo>
                <a:cubicBezTo>
                  <a:pt x="5725278" y="260867"/>
                  <a:pt x="5605869" y="98005"/>
                  <a:pt x="5440399" y="0"/>
                </a:cubicBezTo>
                <a:lnTo>
                  <a:pt x="5649109" y="0"/>
                </a:lnTo>
                <a:cubicBezTo>
                  <a:pt x="5780853" y="121704"/>
                  <a:pt x="5870314" y="285283"/>
                  <a:pt x="5896616" y="468437"/>
                </a:cubicBezTo>
                <a:cubicBezTo>
                  <a:pt x="5896783" y="468490"/>
                  <a:pt x="5896953" y="468495"/>
                  <a:pt x="5897121" y="468500"/>
                </a:cubicBezTo>
                <a:lnTo>
                  <a:pt x="5897662" y="475137"/>
                </a:lnTo>
                <a:cubicBezTo>
                  <a:pt x="5902718" y="505143"/>
                  <a:pt x="5905168" y="535786"/>
                  <a:pt x="5905126" y="566868"/>
                </a:cubicBezTo>
                <a:cubicBezTo>
                  <a:pt x="5906438" y="572454"/>
                  <a:pt x="5906496" y="578078"/>
                  <a:pt x="5906496" y="583715"/>
                </a:cubicBezTo>
                <a:cubicBezTo>
                  <a:pt x="5906496" y="587507"/>
                  <a:pt x="5906469" y="591293"/>
                  <a:pt x="5905903" y="595066"/>
                </a:cubicBezTo>
                <a:lnTo>
                  <a:pt x="5905404" y="595033"/>
                </a:lnTo>
                <a:lnTo>
                  <a:pt x="5905378" y="595524"/>
                </a:lnTo>
                <a:lnTo>
                  <a:pt x="5888260" y="593911"/>
                </a:lnTo>
                <a:cubicBezTo>
                  <a:pt x="5855886" y="593388"/>
                  <a:pt x="5824005" y="590430"/>
                  <a:pt x="5792833" y="584920"/>
                </a:cubicBezTo>
                <a:cubicBezTo>
                  <a:pt x="5787256" y="585336"/>
                  <a:pt x="5781927" y="584395"/>
                  <a:pt x="5776617" y="583392"/>
                </a:cubicBezTo>
                <a:lnTo>
                  <a:pt x="5776501" y="582253"/>
                </a:lnTo>
                <a:cubicBezTo>
                  <a:pt x="5454626" y="529393"/>
                  <a:pt x="5195354" y="299826"/>
                  <a:pt x="5110576" y="0"/>
                </a:cubicBezTo>
                <a:close/>
                <a:moveTo>
                  <a:pt x="4492246" y="0"/>
                </a:moveTo>
                <a:lnTo>
                  <a:pt x="4700955" y="0"/>
                </a:lnTo>
                <a:cubicBezTo>
                  <a:pt x="4535485" y="98005"/>
                  <a:pt x="4416076" y="260867"/>
                  <a:pt x="4378225" y="451830"/>
                </a:cubicBezTo>
                <a:cubicBezTo>
                  <a:pt x="4622279" y="399791"/>
                  <a:pt x="4818867" y="226290"/>
                  <a:pt x="4896763" y="0"/>
                </a:cubicBezTo>
                <a:lnTo>
                  <a:pt x="5030779" y="0"/>
                </a:lnTo>
                <a:cubicBezTo>
                  <a:pt x="4946001" y="299826"/>
                  <a:pt x="4686729" y="529393"/>
                  <a:pt x="4364853" y="582253"/>
                </a:cubicBezTo>
                <a:lnTo>
                  <a:pt x="4364737" y="583392"/>
                </a:lnTo>
                <a:cubicBezTo>
                  <a:pt x="4359427" y="584395"/>
                  <a:pt x="4354098" y="585336"/>
                  <a:pt x="4348521" y="584920"/>
                </a:cubicBezTo>
                <a:cubicBezTo>
                  <a:pt x="4317350" y="590430"/>
                  <a:pt x="4285468" y="593388"/>
                  <a:pt x="4253094" y="593911"/>
                </a:cubicBezTo>
                <a:lnTo>
                  <a:pt x="4235976" y="595524"/>
                </a:lnTo>
                <a:lnTo>
                  <a:pt x="4235950" y="595033"/>
                </a:lnTo>
                <a:lnTo>
                  <a:pt x="4235451" y="595066"/>
                </a:lnTo>
                <a:cubicBezTo>
                  <a:pt x="4234885" y="591293"/>
                  <a:pt x="4234858" y="587507"/>
                  <a:pt x="4234858" y="583715"/>
                </a:cubicBezTo>
                <a:cubicBezTo>
                  <a:pt x="4234858" y="578078"/>
                  <a:pt x="4234916" y="572454"/>
                  <a:pt x="4236228" y="566868"/>
                </a:cubicBezTo>
                <a:cubicBezTo>
                  <a:pt x="4236186" y="535786"/>
                  <a:pt x="4238636" y="505143"/>
                  <a:pt x="4243692" y="475137"/>
                </a:cubicBezTo>
                <a:lnTo>
                  <a:pt x="4244233" y="468500"/>
                </a:lnTo>
                <a:cubicBezTo>
                  <a:pt x="4244401" y="468495"/>
                  <a:pt x="4244571" y="468490"/>
                  <a:pt x="4244738" y="468437"/>
                </a:cubicBezTo>
                <a:cubicBezTo>
                  <a:pt x="4271041" y="285283"/>
                  <a:pt x="4360502" y="121704"/>
                  <a:pt x="4492246" y="0"/>
                </a:cubicBezTo>
                <a:close/>
                <a:moveTo>
                  <a:pt x="3418424" y="0"/>
                </a:moveTo>
                <a:lnTo>
                  <a:pt x="3552441" y="0"/>
                </a:lnTo>
                <a:cubicBezTo>
                  <a:pt x="3630337" y="226291"/>
                  <a:pt x="3826926" y="399791"/>
                  <a:pt x="4070978" y="451830"/>
                </a:cubicBezTo>
                <a:cubicBezTo>
                  <a:pt x="4033127" y="260867"/>
                  <a:pt x="3913719" y="98005"/>
                  <a:pt x="3748249" y="0"/>
                </a:cubicBezTo>
                <a:lnTo>
                  <a:pt x="3956957" y="0"/>
                </a:lnTo>
                <a:cubicBezTo>
                  <a:pt x="4088702" y="121703"/>
                  <a:pt x="4178162" y="285283"/>
                  <a:pt x="4204464" y="468437"/>
                </a:cubicBezTo>
                <a:cubicBezTo>
                  <a:pt x="4204632" y="468490"/>
                  <a:pt x="4204801" y="468495"/>
                  <a:pt x="4204970" y="468499"/>
                </a:cubicBezTo>
                <a:lnTo>
                  <a:pt x="4205510" y="475137"/>
                </a:lnTo>
                <a:cubicBezTo>
                  <a:pt x="4210567" y="505143"/>
                  <a:pt x="4213016" y="535786"/>
                  <a:pt x="4212974" y="566868"/>
                </a:cubicBezTo>
                <a:cubicBezTo>
                  <a:pt x="4214286" y="572454"/>
                  <a:pt x="4214345" y="578078"/>
                  <a:pt x="4214345" y="583715"/>
                </a:cubicBezTo>
                <a:cubicBezTo>
                  <a:pt x="4214345" y="587508"/>
                  <a:pt x="4214318" y="591293"/>
                  <a:pt x="4213752" y="595066"/>
                </a:cubicBezTo>
                <a:lnTo>
                  <a:pt x="4213253" y="595033"/>
                </a:lnTo>
                <a:lnTo>
                  <a:pt x="4213227" y="595524"/>
                </a:lnTo>
                <a:lnTo>
                  <a:pt x="4196108" y="593911"/>
                </a:lnTo>
                <a:cubicBezTo>
                  <a:pt x="4163734" y="593388"/>
                  <a:pt x="4131854" y="590430"/>
                  <a:pt x="4100682" y="584920"/>
                </a:cubicBezTo>
                <a:cubicBezTo>
                  <a:pt x="4095105" y="585336"/>
                  <a:pt x="4089776" y="584395"/>
                  <a:pt x="4084465" y="583392"/>
                </a:cubicBezTo>
                <a:lnTo>
                  <a:pt x="4084349" y="582253"/>
                </a:lnTo>
                <a:cubicBezTo>
                  <a:pt x="3762475" y="529393"/>
                  <a:pt x="3503203" y="299826"/>
                  <a:pt x="3418424" y="0"/>
                </a:cubicBezTo>
                <a:close/>
                <a:moveTo>
                  <a:pt x="2800095" y="0"/>
                </a:moveTo>
                <a:lnTo>
                  <a:pt x="3008804" y="0"/>
                </a:lnTo>
                <a:cubicBezTo>
                  <a:pt x="2843334" y="98005"/>
                  <a:pt x="2723925" y="260867"/>
                  <a:pt x="2686074" y="451830"/>
                </a:cubicBezTo>
                <a:cubicBezTo>
                  <a:pt x="2930126" y="399791"/>
                  <a:pt x="3126716" y="226291"/>
                  <a:pt x="3204612" y="0"/>
                </a:cubicBezTo>
                <a:lnTo>
                  <a:pt x="3338628" y="0"/>
                </a:lnTo>
                <a:cubicBezTo>
                  <a:pt x="3253850" y="299826"/>
                  <a:pt x="2994578" y="529393"/>
                  <a:pt x="2672703" y="582253"/>
                </a:cubicBezTo>
                <a:lnTo>
                  <a:pt x="2672586" y="583392"/>
                </a:lnTo>
                <a:cubicBezTo>
                  <a:pt x="2667276" y="584395"/>
                  <a:pt x="2661947" y="585336"/>
                  <a:pt x="2656370" y="584920"/>
                </a:cubicBezTo>
                <a:cubicBezTo>
                  <a:pt x="2625198" y="590430"/>
                  <a:pt x="2593318" y="593388"/>
                  <a:pt x="2560943" y="593911"/>
                </a:cubicBezTo>
                <a:lnTo>
                  <a:pt x="2543825" y="595524"/>
                </a:lnTo>
                <a:lnTo>
                  <a:pt x="2543799" y="595033"/>
                </a:lnTo>
                <a:lnTo>
                  <a:pt x="2543300" y="595066"/>
                </a:lnTo>
                <a:cubicBezTo>
                  <a:pt x="2542734" y="591293"/>
                  <a:pt x="2542707" y="587507"/>
                  <a:pt x="2542707" y="583715"/>
                </a:cubicBezTo>
                <a:cubicBezTo>
                  <a:pt x="2542707" y="578078"/>
                  <a:pt x="2542765" y="572454"/>
                  <a:pt x="2544077" y="566868"/>
                </a:cubicBezTo>
                <a:cubicBezTo>
                  <a:pt x="2544035" y="535786"/>
                  <a:pt x="2546485" y="505143"/>
                  <a:pt x="2551541" y="475137"/>
                </a:cubicBezTo>
                <a:lnTo>
                  <a:pt x="2552082" y="468499"/>
                </a:lnTo>
                <a:cubicBezTo>
                  <a:pt x="2552250" y="468495"/>
                  <a:pt x="2552420" y="468490"/>
                  <a:pt x="2552587" y="468437"/>
                </a:cubicBezTo>
                <a:cubicBezTo>
                  <a:pt x="2578890" y="285283"/>
                  <a:pt x="2668350" y="121703"/>
                  <a:pt x="2800095" y="0"/>
                </a:cubicBezTo>
                <a:close/>
                <a:moveTo>
                  <a:pt x="1726273" y="0"/>
                </a:moveTo>
                <a:lnTo>
                  <a:pt x="1860290" y="0"/>
                </a:lnTo>
                <a:cubicBezTo>
                  <a:pt x="1938186" y="226291"/>
                  <a:pt x="2134775" y="399791"/>
                  <a:pt x="2378827" y="451830"/>
                </a:cubicBezTo>
                <a:cubicBezTo>
                  <a:pt x="2340976" y="260867"/>
                  <a:pt x="2221567" y="98005"/>
                  <a:pt x="2056098" y="0"/>
                </a:cubicBezTo>
                <a:lnTo>
                  <a:pt x="2264806" y="0"/>
                </a:lnTo>
                <a:cubicBezTo>
                  <a:pt x="2396551" y="121703"/>
                  <a:pt x="2486011" y="285283"/>
                  <a:pt x="2512313" y="468437"/>
                </a:cubicBezTo>
                <a:cubicBezTo>
                  <a:pt x="2512481" y="468490"/>
                  <a:pt x="2512650" y="468495"/>
                  <a:pt x="2512819" y="468499"/>
                </a:cubicBezTo>
                <a:lnTo>
                  <a:pt x="2513359" y="475137"/>
                </a:lnTo>
                <a:cubicBezTo>
                  <a:pt x="2518416" y="505143"/>
                  <a:pt x="2520865" y="535786"/>
                  <a:pt x="2520823" y="566868"/>
                </a:cubicBezTo>
                <a:cubicBezTo>
                  <a:pt x="2522135" y="572454"/>
                  <a:pt x="2522194" y="578078"/>
                  <a:pt x="2522194" y="583715"/>
                </a:cubicBezTo>
                <a:cubicBezTo>
                  <a:pt x="2522194" y="587508"/>
                  <a:pt x="2522167" y="591293"/>
                  <a:pt x="2521601" y="595066"/>
                </a:cubicBezTo>
                <a:lnTo>
                  <a:pt x="2521102" y="595033"/>
                </a:lnTo>
                <a:lnTo>
                  <a:pt x="2521076" y="595524"/>
                </a:lnTo>
                <a:lnTo>
                  <a:pt x="2503957" y="593911"/>
                </a:lnTo>
                <a:cubicBezTo>
                  <a:pt x="2471583" y="593388"/>
                  <a:pt x="2439703" y="590430"/>
                  <a:pt x="2408531" y="584920"/>
                </a:cubicBezTo>
                <a:cubicBezTo>
                  <a:pt x="2402954" y="585336"/>
                  <a:pt x="2397625" y="584395"/>
                  <a:pt x="2392314" y="583392"/>
                </a:cubicBezTo>
                <a:lnTo>
                  <a:pt x="2392198" y="582253"/>
                </a:lnTo>
                <a:cubicBezTo>
                  <a:pt x="2070324" y="529393"/>
                  <a:pt x="1811051" y="299826"/>
                  <a:pt x="1726273" y="0"/>
                </a:cubicBezTo>
                <a:close/>
                <a:moveTo>
                  <a:pt x="1107944" y="0"/>
                </a:moveTo>
                <a:lnTo>
                  <a:pt x="1316652" y="0"/>
                </a:lnTo>
                <a:cubicBezTo>
                  <a:pt x="1151183" y="98005"/>
                  <a:pt x="1031774" y="260867"/>
                  <a:pt x="993923" y="451830"/>
                </a:cubicBezTo>
                <a:cubicBezTo>
                  <a:pt x="1237975" y="399791"/>
                  <a:pt x="1434564" y="226291"/>
                  <a:pt x="1512461" y="0"/>
                </a:cubicBezTo>
                <a:lnTo>
                  <a:pt x="1646477" y="0"/>
                </a:lnTo>
                <a:cubicBezTo>
                  <a:pt x="1561699" y="299826"/>
                  <a:pt x="1302427" y="529393"/>
                  <a:pt x="980552" y="582253"/>
                </a:cubicBezTo>
                <a:lnTo>
                  <a:pt x="980435" y="583392"/>
                </a:lnTo>
                <a:cubicBezTo>
                  <a:pt x="975125" y="584395"/>
                  <a:pt x="969796" y="585336"/>
                  <a:pt x="964219" y="584920"/>
                </a:cubicBezTo>
                <a:cubicBezTo>
                  <a:pt x="933047" y="590430"/>
                  <a:pt x="901167" y="593388"/>
                  <a:pt x="868792" y="593911"/>
                </a:cubicBezTo>
                <a:lnTo>
                  <a:pt x="851674" y="595524"/>
                </a:lnTo>
                <a:lnTo>
                  <a:pt x="851648" y="595033"/>
                </a:lnTo>
                <a:lnTo>
                  <a:pt x="851149" y="595066"/>
                </a:lnTo>
                <a:cubicBezTo>
                  <a:pt x="850583" y="591293"/>
                  <a:pt x="850556" y="587507"/>
                  <a:pt x="850556" y="583715"/>
                </a:cubicBezTo>
                <a:cubicBezTo>
                  <a:pt x="850556" y="578078"/>
                  <a:pt x="850614" y="572454"/>
                  <a:pt x="851926" y="566868"/>
                </a:cubicBezTo>
                <a:cubicBezTo>
                  <a:pt x="851884" y="535786"/>
                  <a:pt x="854334" y="505143"/>
                  <a:pt x="859390" y="475137"/>
                </a:cubicBezTo>
                <a:lnTo>
                  <a:pt x="859931" y="468499"/>
                </a:lnTo>
                <a:cubicBezTo>
                  <a:pt x="860099" y="468495"/>
                  <a:pt x="860269" y="468490"/>
                  <a:pt x="860436" y="468437"/>
                </a:cubicBezTo>
                <a:cubicBezTo>
                  <a:pt x="886739" y="285283"/>
                  <a:pt x="976199" y="121704"/>
                  <a:pt x="1107944" y="0"/>
                </a:cubicBezTo>
                <a:close/>
                <a:moveTo>
                  <a:pt x="34122" y="0"/>
                </a:moveTo>
                <a:lnTo>
                  <a:pt x="168138" y="0"/>
                </a:lnTo>
                <a:cubicBezTo>
                  <a:pt x="246034" y="226290"/>
                  <a:pt x="442624" y="399791"/>
                  <a:pt x="686676" y="451830"/>
                </a:cubicBezTo>
                <a:cubicBezTo>
                  <a:pt x="648825" y="260867"/>
                  <a:pt x="529416" y="98005"/>
                  <a:pt x="363946" y="0"/>
                </a:cubicBezTo>
                <a:lnTo>
                  <a:pt x="572655" y="0"/>
                </a:lnTo>
                <a:cubicBezTo>
                  <a:pt x="704400" y="121703"/>
                  <a:pt x="793860" y="285283"/>
                  <a:pt x="820162" y="468437"/>
                </a:cubicBezTo>
                <a:cubicBezTo>
                  <a:pt x="820330" y="468490"/>
                  <a:pt x="820499" y="468495"/>
                  <a:pt x="820668" y="468500"/>
                </a:cubicBezTo>
                <a:lnTo>
                  <a:pt x="821208" y="475137"/>
                </a:lnTo>
                <a:cubicBezTo>
                  <a:pt x="826265" y="505143"/>
                  <a:pt x="828714" y="535786"/>
                  <a:pt x="828672" y="566868"/>
                </a:cubicBezTo>
                <a:cubicBezTo>
                  <a:pt x="829984" y="572454"/>
                  <a:pt x="830043" y="578078"/>
                  <a:pt x="830043" y="583715"/>
                </a:cubicBezTo>
                <a:cubicBezTo>
                  <a:pt x="830043" y="587508"/>
                  <a:pt x="830016" y="591293"/>
                  <a:pt x="829450" y="595066"/>
                </a:cubicBezTo>
                <a:lnTo>
                  <a:pt x="828951" y="595033"/>
                </a:lnTo>
                <a:lnTo>
                  <a:pt x="828925" y="595524"/>
                </a:lnTo>
                <a:lnTo>
                  <a:pt x="811806" y="593911"/>
                </a:lnTo>
                <a:cubicBezTo>
                  <a:pt x="779432" y="593388"/>
                  <a:pt x="747552" y="590430"/>
                  <a:pt x="716380" y="584920"/>
                </a:cubicBezTo>
                <a:cubicBezTo>
                  <a:pt x="710803" y="585336"/>
                  <a:pt x="705474" y="584395"/>
                  <a:pt x="700163" y="583392"/>
                </a:cubicBezTo>
                <a:lnTo>
                  <a:pt x="700047" y="582253"/>
                </a:lnTo>
                <a:cubicBezTo>
                  <a:pt x="378172" y="529393"/>
                  <a:pt x="118900" y="299826"/>
                  <a:pt x="3412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342900" y="4960137"/>
            <a:ext cx="5829300" cy="1463040"/>
          </a:xfrm>
        </p:spPr>
        <p:txBody>
          <a:bodyPr anchor="ctr">
            <a:normAutofit/>
          </a:bodyPr>
          <a:lstStyle>
            <a:lvl1pPr algn="r">
              <a:defRPr sz="4400" spc="200" baseline="0"/>
            </a:lvl1pPr>
          </a:lstStyle>
          <a:p>
            <a:r>
              <a:rPr lang="en-US" smtClean="0"/>
              <a:t>Click to edit Master title style</a:t>
            </a:r>
            <a:endParaRPr lang="en-US" dirty="0"/>
          </a:p>
        </p:txBody>
      </p:sp>
      <p:sp>
        <p:nvSpPr>
          <p:cNvPr id="3" name="Subtitle 2"/>
          <p:cNvSpPr>
            <a:spLocks noGrp="1"/>
          </p:cNvSpPr>
          <p:nvPr>
            <p:ph type="subTitle" idx="1"/>
          </p:nvPr>
        </p:nvSpPr>
        <p:spPr>
          <a:xfrm>
            <a:off x="6457950" y="4960137"/>
            <a:ext cx="2400300" cy="1463040"/>
          </a:xfrm>
        </p:spPr>
        <p:txBody>
          <a:bodyPr lIns="91440" rIns="91440" anchor="ctr">
            <a:normAutofit/>
          </a:bodyPr>
          <a:lstStyle>
            <a:lvl1pPr marL="0" indent="0" algn="l">
              <a:lnSpc>
                <a:spcPct val="100000"/>
              </a:lnSpc>
              <a:spcBef>
                <a:spcPts val="0"/>
              </a:spcBef>
              <a:buNone/>
              <a:defRPr sz="1600">
                <a:solidFill>
                  <a:schemeClr val="tx1">
                    <a:lumMod val="95000"/>
                    <a:lumOff val="5000"/>
                  </a:schemeClr>
                </a:solidFill>
              </a:defRPr>
            </a:lvl1pPr>
            <a:lvl2pPr marL="457200" indent="0" algn="ctr">
              <a:buNone/>
              <a:defRPr sz="1600"/>
            </a:lvl2pPr>
            <a:lvl3pPr marL="914400" indent="0" algn="ctr">
              <a:buNone/>
              <a:defRPr sz="16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lvl1pPr algn="l">
              <a:defRPr/>
            </a:lvl1pPr>
          </a:lstStyle>
          <a:p>
            <a:endParaRPr lang="en-US" altLang="en-US"/>
          </a:p>
        </p:txBody>
      </p:sp>
      <p:sp>
        <p:nvSpPr>
          <p:cNvPr id="5" name="Footer Placeholder 4"/>
          <p:cNvSpPr>
            <a:spLocks noGrp="1"/>
          </p:cNvSpPr>
          <p:nvPr>
            <p:ph type="ftr" sz="quarter" idx="11"/>
          </p:nvPr>
        </p:nvSpPr>
        <p:spPr/>
        <p:txBody>
          <a:bodyPr/>
          <a:lstStyle/>
          <a:p>
            <a:endParaRPr lang="en-US" altLang="en-US"/>
          </a:p>
        </p:txBody>
      </p:sp>
      <p:sp>
        <p:nvSpPr>
          <p:cNvPr id="6" name="Slide Number Placeholder 5"/>
          <p:cNvSpPr>
            <a:spLocks noGrp="1"/>
          </p:cNvSpPr>
          <p:nvPr>
            <p:ph type="sldNum" sz="quarter" idx="12"/>
          </p:nvPr>
        </p:nvSpPr>
        <p:spPr/>
        <p:txBody>
          <a:bodyPr/>
          <a:lstStyle/>
          <a:p>
            <a:fld id="{938D0D42-6F3E-490E-A8FC-FDED5E8209B9}" type="slidenum">
              <a:rPr lang="en-US" altLang="en-US" smtClean="0"/>
              <a:pPr/>
              <a:t>‹#›</a:t>
            </a:fld>
            <a:endParaRPr lang="en-US" altLang="en-US"/>
          </a:p>
        </p:txBody>
      </p:sp>
      <p:cxnSp>
        <p:nvCxnSpPr>
          <p:cNvPr id="8" name="Straight Connector 7"/>
          <p:cNvCxnSpPr/>
          <p:nvPr/>
        </p:nvCxnSpPr>
        <p:spPr>
          <a:xfrm flipV="1">
            <a:off x="6290132"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24610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a:p>
        </p:txBody>
      </p:sp>
      <p:sp>
        <p:nvSpPr>
          <p:cNvPr id="5" name="Footer Placeholder 4"/>
          <p:cNvSpPr>
            <a:spLocks noGrp="1"/>
          </p:cNvSpPr>
          <p:nvPr>
            <p:ph type="ftr" sz="quarter" idx="11"/>
          </p:nvPr>
        </p:nvSpPr>
        <p:spPr/>
        <p:txBody>
          <a:bodyPr/>
          <a:lstStyle/>
          <a:p>
            <a:endParaRPr lang="en-US" altLang="en-US"/>
          </a:p>
        </p:txBody>
      </p:sp>
      <p:sp>
        <p:nvSpPr>
          <p:cNvPr id="6" name="Slide Number Placeholder 5"/>
          <p:cNvSpPr>
            <a:spLocks noGrp="1"/>
          </p:cNvSpPr>
          <p:nvPr>
            <p:ph type="sldNum" sz="quarter" idx="12"/>
          </p:nvPr>
        </p:nvSpPr>
        <p:spPr/>
        <p:txBody>
          <a:bodyPr/>
          <a:lstStyle/>
          <a:p>
            <a:fld id="{900BCA8D-7EED-4604-826B-B4267EDA7B9A}" type="slidenum">
              <a:rPr lang="en-US" altLang="en-US" smtClean="0"/>
              <a:pPr/>
              <a:t>‹#›</a:t>
            </a:fld>
            <a:endParaRPr lang="en-US" altLang="en-US"/>
          </a:p>
        </p:txBody>
      </p:sp>
    </p:spTree>
    <p:extLst>
      <p:ext uri="{BB962C8B-B14F-4D97-AF65-F5344CB8AC3E}">
        <p14:creationId xmlns:p14="http://schemas.microsoft.com/office/powerpoint/2010/main" val="1087072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762000"/>
            <a:ext cx="1971675" cy="5410200"/>
          </a:xfrm>
        </p:spPr>
        <p:txBody>
          <a:bodyPr vert="eaVert" lIns="45720" tIns="91440" rIns="45720" bIns="91440"/>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742951" y="762000"/>
            <a:ext cx="5686425" cy="541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a:p>
        </p:txBody>
      </p:sp>
      <p:sp>
        <p:nvSpPr>
          <p:cNvPr id="5" name="Footer Placeholder 4"/>
          <p:cNvSpPr>
            <a:spLocks noGrp="1"/>
          </p:cNvSpPr>
          <p:nvPr>
            <p:ph type="ftr" sz="quarter" idx="11"/>
          </p:nvPr>
        </p:nvSpPr>
        <p:spPr/>
        <p:txBody>
          <a:bodyPr/>
          <a:lstStyle/>
          <a:p>
            <a:endParaRPr lang="en-US" altLang="en-US"/>
          </a:p>
        </p:txBody>
      </p:sp>
      <p:sp>
        <p:nvSpPr>
          <p:cNvPr id="6" name="Slide Number Placeholder 5"/>
          <p:cNvSpPr>
            <a:spLocks noGrp="1"/>
          </p:cNvSpPr>
          <p:nvPr>
            <p:ph type="sldNum" sz="quarter" idx="12"/>
          </p:nvPr>
        </p:nvSpPr>
        <p:spPr/>
        <p:txBody>
          <a:bodyPr/>
          <a:lstStyle/>
          <a:p>
            <a:fld id="{7173B69B-7F9E-40D4-9CC3-0E2C3CBA69AB}" type="slidenum">
              <a:rPr lang="en-US" altLang="en-US" smtClean="0"/>
              <a:pPr/>
              <a:t>‹#›</a:t>
            </a:fld>
            <a:endParaRPr lang="en-US" altLang="en-US"/>
          </a:p>
        </p:txBody>
      </p:sp>
      <p:cxnSp>
        <p:nvCxnSpPr>
          <p:cNvPr id="7" name="Straight Connector 6"/>
          <p:cNvCxnSpPr/>
          <p:nvPr/>
        </p:nvCxnSpPr>
        <p:spPr>
          <a:xfrm rot="5400000" flipV="1">
            <a:off x="7543800" y="173563"/>
            <a:ext cx="0" cy="6858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22633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a:p>
        </p:txBody>
      </p:sp>
      <p:sp>
        <p:nvSpPr>
          <p:cNvPr id="5" name="Footer Placeholder 4"/>
          <p:cNvSpPr>
            <a:spLocks noGrp="1"/>
          </p:cNvSpPr>
          <p:nvPr>
            <p:ph type="ftr" sz="quarter" idx="11"/>
          </p:nvPr>
        </p:nvSpPr>
        <p:spPr/>
        <p:txBody>
          <a:bodyPr/>
          <a:lstStyle/>
          <a:p>
            <a:endParaRPr lang="en-US" altLang="en-US"/>
          </a:p>
        </p:txBody>
      </p:sp>
      <p:sp>
        <p:nvSpPr>
          <p:cNvPr id="6" name="Slide Number Placeholder 5"/>
          <p:cNvSpPr>
            <a:spLocks noGrp="1"/>
          </p:cNvSpPr>
          <p:nvPr>
            <p:ph type="sldNum" sz="quarter" idx="12"/>
          </p:nvPr>
        </p:nvSpPr>
        <p:spPr/>
        <p:txBody>
          <a:bodyPr/>
          <a:lstStyle/>
          <a:p>
            <a:fld id="{680D03CE-3E8D-4EBB-82A7-7E8AD3C939E5}" type="slidenum">
              <a:rPr lang="en-US" altLang="en-US" smtClean="0"/>
              <a:pPr/>
              <a:t>‹#›</a:t>
            </a:fld>
            <a:endParaRPr lang="en-US" altLang="en-US"/>
          </a:p>
        </p:txBody>
      </p:sp>
    </p:spTree>
    <p:extLst>
      <p:ext uri="{BB962C8B-B14F-4D97-AF65-F5344CB8AC3E}">
        <p14:creationId xmlns:p14="http://schemas.microsoft.com/office/powerpoint/2010/main" val="37079839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9" name="Rectangle 8"/>
          <p:cNvSpPr/>
          <p:nvPr/>
        </p:nvSpPr>
        <p:spPr>
          <a:xfrm>
            <a:off x="0" y="0"/>
            <a:ext cx="9144000" cy="457200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Freeform 10"/>
          <p:cNvSpPr/>
          <p:nvPr/>
        </p:nvSpPr>
        <p:spPr>
          <a:xfrm>
            <a:off x="4762" y="0"/>
            <a:ext cx="9139239" cy="4572001"/>
          </a:xfrm>
          <a:custGeom>
            <a:avLst/>
            <a:gdLst/>
            <a:ahLst/>
            <a:cxnLst/>
            <a:rect l="l" t="t" r="r" b="b"/>
            <a:pathLst>
              <a:path w="9139239" h="4572001">
                <a:moveTo>
                  <a:pt x="9139239" y="4171458"/>
                </a:moveTo>
                <a:lnTo>
                  <a:pt x="9139239" y="4479120"/>
                </a:lnTo>
                <a:lnTo>
                  <a:pt x="9061857" y="4572001"/>
                </a:lnTo>
                <a:lnTo>
                  <a:pt x="8867616" y="4572001"/>
                </a:lnTo>
                <a:cubicBezTo>
                  <a:pt x="8974940" y="4496648"/>
                  <a:pt x="9059271" y="4392377"/>
                  <a:pt x="9109281" y="4270954"/>
                </a:cubicBezTo>
                <a:close/>
                <a:moveTo>
                  <a:pt x="9139239" y="4017903"/>
                </a:moveTo>
                <a:lnTo>
                  <a:pt x="9139239" y="4146549"/>
                </a:lnTo>
                <a:lnTo>
                  <a:pt x="9061849" y="4168266"/>
                </a:lnTo>
                <a:cubicBezTo>
                  <a:pt x="8867508" y="4236060"/>
                  <a:pt x="8712637" y="4384208"/>
                  <a:pt x="8639677" y="4572001"/>
                </a:cubicBezTo>
                <a:lnTo>
                  <a:pt x="8502130" y="4572001"/>
                </a:lnTo>
                <a:cubicBezTo>
                  <a:pt x="8583823" y="4319597"/>
                  <a:pt x="8787913" y="4120306"/>
                  <a:pt x="9046727" y="4039822"/>
                </a:cubicBezTo>
                <a:close/>
                <a:moveTo>
                  <a:pt x="7620280" y="3999419"/>
                </a:moveTo>
                <a:lnTo>
                  <a:pt x="7637367" y="4001042"/>
                </a:lnTo>
                <a:cubicBezTo>
                  <a:pt x="7669753" y="4001569"/>
                  <a:pt x="7701646" y="4004550"/>
                  <a:pt x="7732829" y="4010107"/>
                </a:cubicBezTo>
                <a:cubicBezTo>
                  <a:pt x="7738405" y="4009688"/>
                  <a:pt x="7743733" y="4010636"/>
                  <a:pt x="7749042" y="4011646"/>
                </a:cubicBezTo>
                <a:lnTo>
                  <a:pt x="7749159" y="4012794"/>
                </a:lnTo>
                <a:cubicBezTo>
                  <a:pt x="8061238" y="4064450"/>
                  <a:pt x="8314467" y="4283539"/>
                  <a:pt x="8407830" y="4572001"/>
                </a:cubicBezTo>
                <a:lnTo>
                  <a:pt x="8270283" y="4572001"/>
                </a:lnTo>
                <a:cubicBezTo>
                  <a:pt x="8186900" y="4357380"/>
                  <a:pt x="7996531" y="4194541"/>
                  <a:pt x="7762529" y="4144250"/>
                </a:cubicBezTo>
                <a:cubicBezTo>
                  <a:pt x="7797023" y="4319651"/>
                  <a:pt x="7899246" y="4471530"/>
                  <a:pt x="8042344" y="4572001"/>
                </a:cubicBezTo>
                <a:lnTo>
                  <a:pt x="7848103" y="4572001"/>
                </a:lnTo>
                <a:cubicBezTo>
                  <a:pt x="7731971" y="4452596"/>
                  <a:pt x="7653409" y="4298519"/>
                  <a:pt x="7629044" y="4127511"/>
                </a:cubicBezTo>
                <a:cubicBezTo>
                  <a:pt x="7628876" y="4127458"/>
                  <a:pt x="7628708" y="4127453"/>
                  <a:pt x="7628538" y="4127448"/>
                </a:cubicBezTo>
                <a:lnTo>
                  <a:pt x="7628000" y="4120772"/>
                </a:lnTo>
                <a:cubicBezTo>
                  <a:pt x="7622941" y="4090522"/>
                  <a:pt x="7620490" y="4059631"/>
                  <a:pt x="7620533" y="4028296"/>
                </a:cubicBezTo>
                <a:cubicBezTo>
                  <a:pt x="7619221" y="4022668"/>
                  <a:pt x="7619162" y="4017001"/>
                  <a:pt x="7619162" y="4011320"/>
                </a:cubicBezTo>
                <a:lnTo>
                  <a:pt x="7619756" y="3999880"/>
                </a:lnTo>
                <a:lnTo>
                  <a:pt x="7620254" y="3999913"/>
                </a:lnTo>
                <a:close/>
                <a:moveTo>
                  <a:pt x="7597529" y="3999419"/>
                </a:moveTo>
                <a:lnTo>
                  <a:pt x="7597555" y="3999913"/>
                </a:lnTo>
                <a:lnTo>
                  <a:pt x="7598053" y="3999880"/>
                </a:lnTo>
                <a:lnTo>
                  <a:pt x="7598647" y="4011320"/>
                </a:lnTo>
                <a:cubicBezTo>
                  <a:pt x="7598647" y="4017001"/>
                  <a:pt x="7598588" y="4022668"/>
                  <a:pt x="7597276" y="4028296"/>
                </a:cubicBezTo>
                <a:cubicBezTo>
                  <a:pt x="7597319" y="4059631"/>
                  <a:pt x="7594868" y="4090522"/>
                  <a:pt x="7589809" y="4120772"/>
                </a:cubicBezTo>
                <a:lnTo>
                  <a:pt x="7589271" y="4127448"/>
                </a:lnTo>
                <a:cubicBezTo>
                  <a:pt x="7589101" y="4127453"/>
                  <a:pt x="7588933" y="4127458"/>
                  <a:pt x="7588765" y="4127511"/>
                </a:cubicBezTo>
                <a:cubicBezTo>
                  <a:pt x="7564400" y="4298519"/>
                  <a:pt x="7485838" y="4452596"/>
                  <a:pt x="7369706" y="4572001"/>
                </a:cubicBezTo>
                <a:lnTo>
                  <a:pt x="7175465" y="4572001"/>
                </a:lnTo>
                <a:cubicBezTo>
                  <a:pt x="7318563" y="4471530"/>
                  <a:pt x="7420786" y="4319651"/>
                  <a:pt x="7455280" y="4144250"/>
                </a:cubicBezTo>
                <a:cubicBezTo>
                  <a:pt x="7221278" y="4194541"/>
                  <a:pt x="7030909" y="4357380"/>
                  <a:pt x="6947526" y="4572001"/>
                </a:cubicBezTo>
                <a:lnTo>
                  <a:pt x="6809978" y="4572001"/>
                </a:lnTo>
                <a:cubicBezTo>
                  <a:pt x="6903341" y="4283539"/>
                  <a:pt x="7156571" y="4064450"/>
                  <a:pt x="7468650" y="4012794"/>
                </a:cubicBezTo>
                <a:lnTo>
                  <a:pt x="7468767" y="4011646"/>
                </a:lnTo>
                <a:cubicBezTo>
                  <a:pt x="7474076" y="4010636"/>
                  <a:pt x="7479404" y="4009688"/>
                  <a:pt x="7484980" y="4010107"/>
                </a:cubicBezTo>
                <a:cubicBezTo>
                  <a:pt x="7516163" y="4004550"/>
                  <a:pt x="7548056" y="4001569"/>
                  <a:pt x="7580442" y="4001042"/>
                </a:cubicBezTo>
                <a:close/>
                <a:moveTo>
                  <a:pt x="5928129" y="3999419"/>
                </a:moveTo>
                <a:lnTo>
                  <a:pt x="5945217" y="4001042"/>
                </a:lnTo>
                <a:cubicBezTo>
                  <a:pt x="5977602" y="4001569"/>
                  <a:pt x="6009495" y="4004550"/>
                  <a:pt x="6040678" y="4010107"/>
                </a:cubicBezTo>
                <a:cubicBezTo>
                  <a:pt x="6046254" y="4009688"/>
                  <a:pt x="6051582" y="4010636"/>
                  <a:pt x="6056891" y="4011646"/>
                </a:cubicBezTo>
                <a:lnTo>
                  <a:pt x="6057008" y="4012794"/>
                </a:lnTo>
                <a:cubicBezTo>
                  <a:pt x="6369087" y="4064450"/>
                  <a:pt x="6622316" y="4283539"/>
                  <a:pt x="6715680" y="4572001"/>
                </a:cubicBezTo>
                <a:lnTo>
                  <a:pt x="6578131" y="4572001"/>
                </a:lnTo>
                <a:cubicBezTo>
                  <a:pt x="6494748" y="4357380"/>
                  <a:pt x="6304380" y="4194541"/>
                  <a:pt x="6070378" y="4144250"/>
                </a:cubicBezTo>
                <a:cubicBezTo>
                  <a:pt x="6104872" y="4319650"/>
                  <a:pt x="6207095" y="4471530"/>
                  <a:pt x="6350192" y="4572001"/>
                </a:cubicBezTo>
                <a:lnTo>
                  <a:pt x="6155952" y="4572001"/>
                </a:lnTo>
                <a:cubicBezTo>
                  <a:pt x="6039820" y="4452596"/>
                  <a:pt x="5961257" y="4298519"/>
                  <a:pt x="5936893" y="4127511"/>
                </a:cubicBezTo>
                <a:cubicBezTo>
                  <a:pt x="5936725" y="4127458"/>
                  <a:pt x="5936557" y="4127453"/>
                  <a:pt x="5936387" y="4127448"/>
                </a:cubicBezTo>
                <a:lnTo>
                  <a:pt x="5935849" y="4120772"/>
                </a:lnTo>
                <a:cubicBezTo>
                  <a:pt x="5930790" y="4090522"/>
                  <a:pt x="5928340" y="4059631"/>
                  <a:pt x="5928382" y="4028296"/>
                </a:cubicBezTo>
                <a:cubicBezTo>
                  <a:pt x="5927070" y="4022668"/>
                  <a:pt x="5927011" y="4017001"/>
                  <a:pt x="5927011" y="4011320"/>
                </a:cubicBezTo>
                <a:lnTo>
                  <a:pt x="5927605" y="3999880"/>
                </a:lnTo>
                <a:lnTo>
                  <a:pt x="5928103" y="3999913"/>
                </a:lnTo>
                <a:close/>
                <a:moveTo>
                  <a:pt x="5905378" y="3999419"/>
                </a:moveTo>
                <a:lnTo>
                  <a:pt x="5905404" y="3999913"/>
                </a:lnTo>
                <a:lnTo>
                  <a:pt x="5905902" y="3999880"/>
                </a:lnTo>
                <a:lnTo>
                  <a:pt x="5906496" y="4011320"/>
                </a:lnTo>
                <a:cubicBezTo>
                  <a:pt x="5906496" y="4017001"/>
                  <a:pt x="5906437" y="4022668"/>
                  <a:pt x="5905125" y="4028296"/>
                </a:cubicBezTo>
                <a:cubicBezTo>
                  <a:pt x="5905167" y="4059631"/>
                  <a:pt x="5902717" y="4090522"/>
                  <a:pt x="5897658" y="4120772"/>
                </a:cubicBezTo>
                <a:lnTo>
                  <a:pt x="5897120" y="4127448"/>
                </a:lnTo>
                <a:cubicBezTo>
                  <a:pt x="5896950" y="4127453"/>
                  <a:pt x="5896782" y="4127458"/>
                  <a:pt x="5896614" y="4127511"/>
                </a:cubicBezTo>
                <a:cubicBezTo>
                  <a:pt x="5872249" y="4298519"/>
                  <a:pt x="5793686" y="4452596"/>
                  <a:pt x="5677555" y="4572001"/>
                </a:cubicBezTo>
                <a:lnTo>
                  <a:pt x="5483314" y="4572001"/>
                </a:lnTo>
                <a:cubicBezTo>
                  <a:pt x="5626412" y="4471530"/>
                  <a:pt x="5728635" y="4319650"/>
                  <a:pt x="5763129" y="4144250"/>
                </a:cubicBezTo>
                <a:cubicBezTo>
                  <a:pt x="5529126" y="4194541"/>
                  <a:pt x="5338758" y="4357380"/>
                  <a:pt x="5255375" y="4572001"/>
                </a:cubicBezTo>
                <a:lnTo>
                  <a:pt x="5117827" y="4572001"/>
                </a:lnTo>
                <a:cubicBezTo>
                  <a:pt x="5211190" y="4283539"/>
                  <a:pt x="5464420" y="4064450"/>
                  <a:pt x="5776499" y="4012794"/>
                </a:cubicBezTo>
                <a:lnTo>
                  <a:pt x="5776616" y="4011646"/>
                </a:lnTo>
                <a:cubicBezTo>
                  <a:pt x="5781926" y="4010636"/>
                  <a:pt x="5787253" y="4009688"/>
                  <a:pt x="5792829" y="4010107"/>
                </a:cubicBezTo>
                <a:cubicBezTo>
                  <a:pt x="5824012" y="4004550"/>
                  <a:pt x="5855905" y="4001569"/>
                  <a:pt x="5888290" y="4001042"/>
                </a:cubicBezTo>
                <a:close/>
                <a:moveTo>
                  <a:pt x="4235979" y="3999419"/>
                </a:moveTo>
                <a:lnTo>
                  <a:pt x="4253065" y="4001042"/>
                </a:lnTo>
                <a:cubicBezTo>
                  <a:pt x="4285451" y="4001569"/>
                  <a:pt x="4317343" y="4004550"/>
                  <a:pt x="4348528" y="4010107"/>
                </a:cubicBezTo>
                <a:cubicBezTo>
                  <a:pt x="4354104" y="4009688"/>
                  <a:pt x="4359431" y="4010636"/>
                  <a:pt x="4364739" y="4011646"/>
                </a:cubicBezTo>
                <a:lnTo>
                  <a:pt x="4364856" y="4012794"/>
                </a:lnTo>
                <a:cubicBezTo>
                  <a:pt x="4676936" y="4064450"/>
                  <a:pt x="4930165" y="4283539"/>
                  <a:pt x="5023528" y="4572001"/>
                </a:cubicBezTo>
                <a:lnTo>
                  <a:pt x="4885980" y="4572001"/>
                </a:lnTo>
                <a:cubicBezTo>
                  <a:pt x="4802597" y="4357380"/>
                  <a:pt x="4612229" y="4194541"/>
                  <a:pt x="4378227" y="4144250"/>
                </a:cubicBezTo>
                <a:cubicBezTo>
                  <a:pt x="4412722" y="4319651"/>
                  <a:pt x="4514944" y="4471530"/>
                  <a:pt x="4658041" y="4572001"/>
                </a:cubicBezTo>
                <a:lnTo>
                  <a:pt x="4463800" y="4572001"/>
                </a:lnTo>
                <a:cubicBezTo>
                  <a:pt x="4347669" y="4452596"/>
                  <a:pt x="4269106" y="4298519"/>
                  <a:pt x="4244741" y="4127511"/>
                </a:cubicBezTo>
                <a:cubicBezTo>
                  <a:pt x="4244574" y="4127458"/>
                  <a:pt x="4244405" y="4127453"/>
                  <a:pt x="4244236" y="4127448"/>
                </a:cubicBezTo>
                <a:lnTo>
                  <a:pt x="4243697" y="4120772"/>
                </a:lnTo>
                <a:cubicBezTo>
                  <a:pt x="4238639" y="4090522"/>
                  <a:pt x="4236188" y="4059631"/>
                  <a:pt x="4236230" y="4028296"/>
                </a:cubicBezTo>
                <a:cubicBezTo>
                  <a:pt x="4234918" y="4022668"/>
                  <a:pt x="4234860" y="4017001"/>
                  <a:pt x="4234860" y="4011320"/>
                </a:cubicBezTo>
                <a:lnTo>
                  <a:pt x="4235454" y="3999880"/>
                </a:lnTo>
                <a:lnTo>
                  <a:pt x="4235952" y="3999913"/>
                </a:lnTo>
                <a:close/>
                <a:moveTo>
                  <a:pt x="4213227" y="3999419"/>
                </a:moveTo>
                <a:lnTo>
                  <a:pt x="4213253" y="3999913"/>
                </a:lnTo>
                <a:lnTo>
                  <a:pt x="4213751" y="3999880"/>
                </a:lnTo>
                <a:lnTo>
                  <a:pt x="4214345" y="4011320"/>
                </a:lnTo>
                <a:cubicBezTo>
                  <a:pt x="4214345" y="4017001"/>
                  <a:pt x="4214286" y="4022668"/>
                  <a:pt x="4212974" y="4028296"/>
                </a:cubicBezTo>
                <a:cubicBezTo>
                  <a:pt x="4213016" y="4059631"/>
                  <a:pt x="4210566" y="4090522"/>
                  <a:pt x="4205507" y="4120772"/>
                </a:cubicBezTo>
                <a:lnTo>
                  <a:pt x="4204969" y="4127448"/>
                </a:lnTo>
                <a:cubicBezTo>
                  <a:pt x="4204799" y="4127453"/>
                  <a:pt x="4204631" y="4127458"/>
                  <a:pt x="4204463" y="4127511"/>
                </a:cubicBezTo>
                <a:cubicBezTo>
                  <a:pt x="4180098" y="4298519"/>
                  <a:pt x="4101535" y="4452596"/>
                  <a:pt x="3985404" y="4572001"/>
                </a:cubicBezTo>
                <a:lnTo>
                  <a:pt x="3791163" y="4572001"/>
                </a:lnTo>
                <a:cubicBezTo>
                  <a:pt x="3934261" y="4471530"/>
                  <a:pt x="4036484" y="4319651"/>
                  <a:pt x="4070978" y="4144250"/>
                </a:cubicBezTo>
                <a:cubicBezTo>
                  <a:pt x="3836975" y="4194541"/>
                  <a:pt x="3646607" y="4357380"/>
                  <a:pt x="3563224" y="4572001"/>
                </a:cubicBezTo>
                <a:lnTo>
                  <a:pt x="3425676" y="4572001"/>
                </a:lnTo>
                <a:cubicBezTo>
                  <a:pt x="3519039" y="4283539"/>
                  <a:pt x="3772269" y="4064450"/>
                  <a:pt x="4084348" y="4012794"/>
                </a:cubicBezTo>
                <a:lnTo>
                  <a:pt x="4084465" y="4011646"/>
                </a:lnTo>
                <a:cubicBezTo>
                  <a:pt x="4089774" y="4010636"/>
                  <a:pt x="4095102" y="4009688"/>
                  <a:pt x="4100678" y="4010107"/>
                </a:cubicBezTo>
                <a:cubicBezTo>
                  <a:pt x="4131861" y="4004550"/>
                  <a:pt x="4163754" y="4001569"/>
                  <a:pt x="4196139" y="4001042"/>
                </a:cubicBezTo>
                <a:close/>
                <a:moveTo>
                  <a:pt x="2543827" y="3999419"/>
                </a:moveTo>
                <a:lnTo>
                  <a:pt x="2560914" y="4001042"/>
                </a:lnTo>
                <a:cubicBezTo>
                  <a:pt x="2593300" y="4001569"/>
                  <a:pt x="2625192" y="4004550"/>
                  <a:pt x="2656376" y="4010107"/>
                </a:cubicBezTo>
                <a:cubicBezTo>
                  <a:pt x="2661952" y="4009688"/>
                  <a:pt x="2667280" y="4010636"/>
                  <a:pt x="2672588" y="4011646"/>
                </a:cubicBezTo>
                <a:lnTo>
                  <a:pt x="2672706" y="4012794"/>
                </a:lnTo>
                <a:cubicBezTo>
                  <a:pt x="2984785" y="4064450"/>
                  <a:pt x="3238014" y="4283539"/>
                  <a:pt x="3331377" y="4572001"/>
                </a:cubicBezTo>
                <a:lnTo>
                  <a:pt x="3193830" y="4572001"/>
                </a:lnTo>
                <a:cubicBezTo>
                  <a:pt x="3110446" y="4357380"/>
                  <a:pt x="2920078" y="4194541"/>
                  <a:pt x="2686076" y="4144250"/>
                </a:cubicBezTo>
                <a:cubicBezTo>
                  <a:pt x="2720570" y="4319650"/>
                  <a:pt x="2822793" y="4471530"/>
                  <a:pt x="2965890" y="4572001"/>
                </a:cubicBezTo>
                <a:lnTo>
                  <a:pt x="2771649" y="4572001"/>
                </a:lnTo>
                <a:cubicBezTo>
                  <a:pt x="2655518" y="4452596"/>
                  <a:pt x="2576955" y="4298519"/>
                  <a:pt x="2552590" y="4127511"/>
                </a:cubicBezTo>
                <a:cubicBezTo>
                  <a:pt x="2552423" y="4127458"/>
                  <a:pt x="2552254" y="4127453"/>
                  <a:pt x="2552085" y="4127448"/>
                </a:cubicBezTo>
                <a:lnTo>
                  <a:pt x="2551547" y="4120772"/>
                </a:lnTo>
                <a:cubicBezTo>
                  <a:pt x="2546488" y="4090522"/>
                  <a:pt x="2544037" y="4059631"/>
                  <a:pt x="2544079" y="4028296"/>
                </a:cubicBezTo>
                <a:cubicBezTo>
                  <a:pt x="2542767" y="4022668"/>
                  <a:pt x="2542709" y="4017001"/>
                  <a:pt x="2542709" y="4011320"/>
                </a:cubicBezTo>
                <a:lnTo>
                  <a:pt x="2543303" y="3999880"/>
                </a:lnTo>
                <a:lnTo>
                  <a:pt x="2543801" y="3999913"/>
                </a:lnTo>
                <a:close/>
                <a:moveTo>
                  <a:pt x="2521076" y="3999419"/>
                </a:moveTo>
                <a:lnTo>
                  <a:pt x="2521102" y="3999913"/>
                </a:lnTo>
                <a:lnTo>
                  <a:pt x="2521600" y="3999880"/>
                </a:lnTo>
                <a:lnTo>
                  <a:pt x="2522194" y="4011320"/>
                </a:lnTo>
                <a:cubicBezTo>
                  <a:pt x="2522194" y="4017001"/>
                  <a:pt x="2522135" y="4022668"/>
                  <a:pt x="2520823" y="4028296"/>
                </a:cubicBezTo>
                <a:cubicBezTo>
                  <a:pt x="2520865" y="4059631"/>
                  <a:pt x="2518415" y="4090522"/>
                  <a:pt x="2513356" y="4120772"/>
                </a:cubicBezTo>
                <a:lnTo>
                  <a:pt x="2512818" y="4127448"/>
                </a:lnTo>
                <a:cubicBezTo>
                  <a:pt x="2512648" y="4127453"/>
                  <a:pt x="2512480" y="4127458"/>
                  <a:pt x="2512312" y="4127511"/>
                </a:cubicBezTo>
                <a:cubicBezTo>
                  <a:pt x="2487947" y="4298519"/>
                  <a:pt x="2409385" y="4452596"/>
                  <a:pt x="2293253" y="4572001"/>
                </a:cubicBezTo>
                <a:lnTo>
                  <a:pt x="2099012" y="4572001"/>
                </a:lnTo>
                <a:cubicBezTo>
                  <a:pt x="2242110" y="4471530"/>
                  <a:pt x="2344333" y="4319651"/>
                  <a:pt x="2378827" y="4144250"/>
                </a:cubicBezTo>
                <a:cubicBezTo>
                  <a:pt x="2144825" y="4194541"/>
                  <a:pt x="1954456" y="4357380"/>
                  <a:pt x="1871073" y="4572001"/>
                </a:cubicBezTo>
                <a:lnTo>
                  <a:pt x="1733525" y="4572001"/>
                </a:lnTo>
                <a:cubicBezTo>
                  <a:pt x="1826888" y="4283539"/>
                  <a:pt x="2080118" y="4064450"/>
                  <a:pt x="2392197" y="4012794"/>
                </a:cubicBezTo>
                <a:lnTo>
                  <a:pt x="2392314" y="4011646"/>
                </a:lnTo>
                <a:cubicBezTo>
                  <a:pt x="2397623" y="4010636"/>
                  <a:pt x="2402951" y="4009688"/>
                  <a:pt x="2408527" y="4010107"/>
                </a:cubicBezTo>
                <a:cubicBezTo>
                  <a:pt x="2439710" y="4004550"/>
                  <a:pt x="2471603" y="4001569"/>
                  <a:pt x="2503988" y="4001042"/>
                </a:cubicBezTo>
                <a:close/>
                <a:moveTo>
                  <a:pt x="851676" y="3999419"/>
                </a:moveTo>
                <a:lnTo>
                  <a:pt x="868763" y="4001042"/>
                </a:lnTo>
                <a:cubicBezTo>
                  <a:pt x="901149" y="4001569"/>
                  <a:pt x="933041" y="4004550"/>
                  <a:pt x="964225" y="4010107"/>
                </a:cubicBezTo>
                <a:cubicBezTo>
                  <a:pt x="969801" y="4009688"/>
                  <a:pt x="975129" y="4010636"/>
                  <a:pt x="980437" y="4011646"/>
                </a:cubicBezTo>
                <a:lnTo>
                  <a:pt x="980555" y="4012794"/>
                </a:lnTo>
                <a:cubicBezTo>
                  <a:pt x="1292634" y="4064450"/>
                  <a:pt x="1545864" y="4283539"/>
                  <a:pt x="1639226" y="4572001"/>
                </a:cubicBezTo>
                <a:lnTo>
                  <a:pt x="1501679" y="4572001"/>
                </a:lnTo>
                <a:cubicBezTo>
                  <a:pt x="1418296" y="4357380"/>
                  <a:pt x="1227927" y="4194541"/>
                  <a:pt x="993925" y="4144250"/>
                </a:cubicBezTo>
                <a:cubicBezTo>
                  <a:pt x="1028419" y="4319651"/>
                  <a:pt x="1130642" y="4471530"/>
                  <a:pt x="1273740" y="4572001"/>
                </a:cubicBezTo>
                <a:lnTo>
                  <a:pt x="1079499" y="4572001"/>
                </a:lnTo>
                <a:cubicBezTo>
                  <a:pt x="963367" y="4452596"/>
                  <a:pt x="884804" y="4298519"/>
                  <a:pt x="860439" y="4127511"/>
                </a:cubicBezTo>
                <a:cubicBezTo>
                  <a:pt x="860272" y="4127458"/>
                  <a:pt x="860103" y="4127453"/>
                  <a:pt x="859934" y="4127448"/>
                </a:cubicBezTo>
                <a:lnTo>
                  <a:pt x="859396" y="4120772"/>
                </a:lnTo>
                <a:cubicBezTo>
                  <a:pt x="854337" y="4090522"/>
                  <a:pt x="851886" y="4059631"/>
                  <a:pt x="851928" y="4028296"/>
                </a:cubicBezTo>
                <a:cubicBezTo>
                  <a:pt x="850616" y="4022668"/>
                  <a:pt x="850558" y="4017001"/>
                  <a:pt x="850558" y="4011320"/>
                </a:cubicBezTo>
                <a:lnTo>
                  <a:pt x="851152" y="3999880"/>
                </a:lnTo>
                <a:lnTo>
                  <a:pt x="851650" y="3999913"/>
                </a:lnTo>
                <a:close/>
                <a:moveTo>
                  <a:pt x="828925" y="3999419"/>
                </a:moveTo>
                <a:lnTo>
                  <a:pt x="828951" y="3999913"/>
                </a:lnTo>
                <a:lnTo>
                  <a:pt x="829449" y="3999880"/>
                </a:lnTo>
                <a:lnTo>
                  <a:pt x="830043" y="4011320"/>
                </a:lnTo>
                <a:cubicBezTo>
                  <a:pt x="830043" y="4017001"/>
                  <a:pt x="829984" y="4022668"/>
                  <a:pt x="828672" y="4028296"/>
                </a:cubicBezTo>
                <a:cubicBezTo>
                  <a:pt x="828714" y="4059631"/>
                  <a:pt x="826264" y="4090522"/>
                  <a:pt x="821205" y="4120772"/>
                </a:cubicBezTo>
                <a:lnTo>
                  <a:pt x="820667" y="4127448"/>
                </a:lnTo>
                <a:cubicBezTo>
                  <a:pt x="820497" y="4127453"/>
                  <a:pt x="820329" y="4127458"/>
                  <a:pt x="820161" y="4127511"/>
                </a:cubicBezTo>
                <a:cubicBezTo>
                  <a:pt x="795796" y="4298519"/>
                  <a:pt x="717234" y="4452596"/>
                  <a:pt x="601102" y="4572001"/>
                </a:cubicBezTo>
                <a:lnTo>
                  <a:pt x="406861" y="4572001"/>
                </a:lnTo>
                <a:cubicBezTo>
                  <a:pt x="549959" y="4471530"/>
                  <a:pt x="652182" y="4319650"/>
                  <a:pt x="686676" y="4144250"/>
                </a:cubicBezTo>
                <a:cubicBezTo>
                  <a:pt x="452674" y="4194541"/>
                  <a:pt x="262305" y="4357380"/>
                  <a:pt x="178922" y="4572001"/>
                </a:cubicBezTo>
                <a:lnTo>
                  <a:pt x="41374" y="4572001"/>
                </a:lnTo>
                <a:cubicBezTo>
                  <a:pt x="134738" y="4283539"/>
                  <a:pt x="387967" y="4064450"/>
                  <a:pt x="700046" y="4012794"/>
                </a:cubicBezTo>
                <a:lnTo>
                  <a:pt x="700163" y="4011646"/>
                </a:lnTo>
                <a:cubicBezTo>
                  <a:pt x="705472" y="4010636"/>
                  <a:pt x="710800" y="4009688"/>
                  <a:pt x="716376" y="4010107"/>
                </a:cubicBezTo>
                <a:cubicBezTo>
                  <a:pt x="747559" y="4004550"/>
                  <a:pt x="779452" y="4001569"/>
                  <a:pt x="811837" y="4001042"/>
                </a:cubicBezTo>
                <a:close/>
                <a:moveTo>
                  <a:pt x="8305836" y="3304913"/>
                </a:moveTo>
                <a:cubicBezTo>
                  <a:pt x="8030646" y="3363591"/>
                  <a:pt x="7815802" y="3576701"/>
                  <a:pt x="7762527" y="3845480"/>
                </a:cubicBezTo>
                <a:cubicBezTo>
                  <a:pt x="8037717" y="3786801"/>
                  <a:pt x="8252560" y="3573691"/>
                  <a:pt x="8305836" y="3304913"/>
                </a:cubicBezTo>
                <a:close/>
                <a:moveTo>
                  <a:pt x="6911971" y="3304913"/>
                </a:moveTo>
                <a:cubicBezTo>
                  <a:pt x="6965247" y="3573691"/>
                  <a:pt x="7180090" y="3786801"/>
                  <a:pt x="7455280" y="3845480"/>
                </a:cubicBezTo>
                <a:cubicBezTo>
                  <a:pt x="7402005" y="3576701"/>
                  <a:pt x="7187161" y="3363591"/>
                  <a:pt x="6911971" y="3304913"/>
                </a:cubicBezTo>
                <a:close/>
                <a:moveTo>
                  <a:pt x="6613685" y="3304913"/>
                </a:moveTo>
                <a:cubicBezTo>
                  <a:pt x="6338495" y="3363591"/>
                  <a:pt x="6123651" y="3576701"/>
                  <a:pt x="6070376" y="3845480"/>
                </a:cubicBezTo>
                <a:cubicBezTo>
                  <a:pt x="6345566" y="3786801"/>
                  <a:pt x="6560409" y="3573691"/>
                  <a:pt x="6613685" y="3304913"/>
                </a:cubicBezTo>
                <a:close/>
                <a:moveTo>
                  <a:pt x="5219820" y="3304913"/>
                </a:moveTo>
                <a:cubicBezTo>
                  <a:pt x="5273096" y="3573691"/>
                  <a:pt x="5487939" y="3786801"/>
                  <a:pt x="5763129" y="3845480"/>
                </a:cubicBezTo>
                <a:cubicBezTo>
                  <a:pt x="5709854" y="3576701"/>
                  <a:pt x="5495010" y="3363591"/>
                  <a:pt x="5219820" y="3304913"/>
                </a:cubicBezTo>
                <a:close/>
                <a:moveTo>
                  <a:pt x="4921534" y="3304913"/>
                </a:moveTo>
                <a:cubicBezTo>
                  <a:pt x="4646344" y="3363591"/>
                  <a:pt x="4431500" y="3576701"/>
                  <a:pt x="4378225" y="3845480"/>
                </a:cubicBezTo>
                <a:cubicBezTo>
                  <a:pt x="4653415" y="3786801"/>
                  <a:pt x="4868259" y="3573691"/>
                  <a:pt x="4921534" y="3304913"/>
                </a:cubicBezTo>
                <a:close/>
                <a:moveTo>
                  <a:pt x="3527669" y="3304913"/>
                </a:moveTo>
                <a:cubicBezTo>
                  <a:pt x="3580945" y="3573691"/>
                  <a:pt x="3795788" y="3786801"/>
                  <a:pt x="4070978" y="3845480"/>
                </a:cubicBezTo>
                <a:cubicBezTo>
                  <a:pt x="4017703" y="3576701"/>
                  <a:pt x="3802859" y="3363591"/>
                  <a:pt x="3527669" y="3304913"/>
                </a:cubicBezTo>
                <a:close/>
                <a:moveTo>
                  <a:pt x="3229383" y="3304913"/>
                </a:moveTo>
                <a:cubicBezTo>
                  <a:pt x="2954193" y="3363591"/>
                  <a:pt x="2739349" y="3576701"/>
                  <a:pt x="2686074" y="3845480"/>
                </a:cubicBezTo>
                <a:cubicBezTo>
                  <a:pt x="2961264" y="3786801"/>
                  <a:pt x="3176107" y="3573691"/>
                  <a:pt x="3229383" y="3304913"/>
                </a:cubicBezTo>
                <a:close/>
                <a:moveTo>
                  <a:pt x="1835518" y="3304913"/>
                </a:moveTo>
                <a:cubicBezTo>
                  <a:pt x="1888794" y="3573691"/>
                  <a:pt x="2103637" y="3786801"/>
                  <a:pt x="2378827" y="3845480"/>
                </a:cubicBezTo>
                <a:cubicBezTo>
                  <a:pt x="2325552" y="3576701"/>
                  <a:pt x="2110708" y="3363591"/>
                  <a:pt x="1835518" y="3304913"/>
                </a:cubicBezTo>
                <a:close/>
                <a:moveTo>
                  <a:pt x="1537232" y="3304913"/>
                </a:moveTo>
                <a:cubicBezTo>
                  <a:pt x="1262042" y="3363591"/>
                  <a:pt x="1047198" y="3576701"/>
                  <a:pt x="993923" y="3845480"/>
                </a:cubicBezTo>
                <a:cubicBezTo>
                  <a:pt x="1269113" y="3786801"/>
                  <a:pt x="1483956" y="3573691"/>
                  <a:pt x="1537232" y="3304913"/>
                </a:cubicBezTo>
                <a:close/>
                <a:moveTo>
                  <a:pt x="143367" y="3304913"/>
                </a:moveTo>
                <a:cubicBezTo>
                  <a:pt x="196643" y="3573691"/>
                  <a:pt x="411486" y="3786801"/>
                  <a:pt x="686676" y="3845480"/>
                </a:cubicBezTo>
                <a:cubicBezTo>
                  <a:pt x="633401" y="3576701"/>
                  <a:pt x="418557" y="3363591"/>
                  <a:pt x="143367" y="3304913"/>
                </a:cubicBezTo>
                <a:close/>
                <a:moveTo>
                  <a:pt x="8461873" y="3161219"/>
                </a:moveTo>
                <a:lnTo>
                  <a:pt x="8478960" y="3162829"/>
                </a:lnTo>
                <a:cubicBezTo>
                  <a:pt x="8511346" y="3163352"/>
                  <a:pt x="8543239" y="3166310"/>
                  <a:pt x="8574422" y="3171823"/>
                </a:cubicBezTo>
                <a:cubicBezTo>
                  <a:pt x="8579998" y="3171407"/>
                  <a:pt x="8585326" y="3172348"/>
                  <a:pt x="8590635" y="3173350"/>
                </a:cubicBezTo>
                <a:lnTo>
                  <a:pt x="8590752" y="3174489"/>
                </a:lnTo>
                <a:cubicBezTo>
                  <a:pt x="8815033" y="3211322"/>
                  <a:pt x="9008920" y="3333951"/>
                  <a:pt x="9135069" y="3506215"/>
                </a:cubicBezTo>
                <a:lnTo>
                  <a:pt x="9139239" y="3512974"/>
                </a:lnTo>
                <a:lnTo>
                  <a:pt x="9139239" y="3816134"/>
                </a:lnTo>
                <a:lnTo>
                  <a:pt x="9120077" y="3747490"/>
                </a:lnTo>
                <a:cubicBezTo>
                  <a:pt x="9039502" y="3525837"/>
                  <a:pt x="8844913" y="3356256"/>
                  <a:pt x="8604122" y="3304913"/>
                </a:cubicBezTo>
                <a:cubicBezTo>
                  <a:pt x="8650738" y="3540094"/>
                  <a:pt x="8821055" y="3732654"/>
                  <a:pt x="9047261" y="3816429"/>
                </a:cubicBezTo>
                <a:lnTo>
                  <a:pt x="9139239" y="3843104"/>
                </a:lnTo>
                <a:lnTo>
                  <a:pt x="9139239" y="3970603"/>
                </a:lnTo>
                <a:lnTo>
                  <a:pt x="9030179" y="3943797"/>
                </a:lnTo>
                <a:cubicBezTo>
                  <a:pt x="8735297" y="3846211"/>
                  <a:pt x="8514628" y="3594637"/>
                  <a:pt x="8470637" y="3288305"/>
                </a:cubicBezTo>
                <a:cubicBezTo>
                  <a:pt x="8470469" y="3288253"/>
                  <a:pt x="8470301" y="3288248"/>
                  <a:pt x="8470131" y="3288243"/>
                </a:cubicBezTo>
                <a:lnTo>
                  <a:pt x="8469593" y="3281619"/>
                </a:lnTo>
                <a:cubicBezTo>
                  <a:pt x="8464534" y="3251607"/>
                  <a:pt x="8462083" y="3220958"/>
                  <a:pt x="8462126" y="3189869"/>
                </a:cubicBezTo>
                <a:cubicBezTo>
                  <a:pt x="8460814" y="3184286"/>
                  <a:pt x="8460755" y="3178663"/>
                  <a:pt x="8460755" y="3173027"/>
                </a:cubicBezTo>
                <a:lnTo>
                  <a:pt x="8461349" y="3161677"/>
                </a:lnTo>
                <a:lnTo>
                  <a:pt x="8461847" y="3161709"/>
                </a:lnTo>
                <a:close/>
                <a:moveTo>
                  <a:pt x="8448085" y="3161219"/>
                </a:moveTo>
                <a:lnTo>
                  <a:pt x="8448111" y="3161709"/>
                </a:lnTo>
                <a:lnTo>
                  <a:pt x="8448609" y="3161677"/>
                </a:lnTo>
                <a:lnTo>
                  <a:pt x="8449203" y="3173027"/>
                </a:lnTo>
                <a:cubicBezTo>
                  <a:pt x="8449203" y="3178663"/>
                  <a:pt x="8449144" y="3184286"/>
                  <a:pt x="8447832" y="3189869"/>
                </a:cubicBezTo>
                <a:cubicBezTo>
                  <a:pt x="8447875" y="3220958"/>
                  <a:pt x="8445424" y="3251607"/>
                  <a:pt x="8440365" y="3281619"/>
                </a:cubicBezTo>
                <a:lnTo>
                  <a:pt x="8439827" y="3288243"/>
                </a:lnTo>
                <a:cubicBezTo>
                  <a:pt x="8439657" y="3288248"/>
                  <a:pt x="8439489" y="3288253"/>
                  <a:pt x="8439321" y="3288305"/>
                </a:cubicBezTo>
                <a:cubicBezTo>
                  <a:pt x="8389046" y="3638399"/>
                  <a:pt x="8108007" y="3916971"/>
                  <a:pt x="7749156" y="3975903"/>
                </a:cubicBezTo>
                <a:lnTo>
                  <a:pt x="7749040" y="3977042"/>
                </a:lnTo>
                <a:cubicBezTo>
                  <a:pt x="7743729" y="3978045"/>
                  <a:pt x="7738400" y="3978986"/>
                  <a:pt x="7732823" y="3978570"/>
                </a:cubicBezTo>
                <a:cubicBezTo>
                  <a:pt x="7701651" y="3984080"/>
                  <a:pt x="7669771" y="3987038"/>
                  <a:pt x="7637396" y="3987561"/>
                </a:cubicBezTo>
                <a:lnTo>
                  <a:pt x="7620278" y="3989174"/>
                </a:lnTo>
                <a:lnTo>
                  <a:pt x="7620252" y="3988683"/>
                </a:lnTo>
                <a:lnTo>
                  <a:pt x="7619753" y="3988716"/>
                </a:lnTo>
                <a:cubicBezTo>
                  <a:pt x="7619187" y="3984944"/>
                  <a:pt x="7619160" y="3981158"/>
                  <a:pt x="7619160" y="3977366"/>
                </a:cubicBezTo>
                <a:cubicBezTo>
                  <a:pt x="7619160" y="3971728"/>
                  <a:pt x="7619219" y="3966104"/>
                  <a:pt x="7620531" y="3960518"/>
                </a:cubicBezTo>
                <a:cubicBezTo>
                  <a:pt x="7620488" y="3929436"/>
                  <a:pt x="7622938" y="3898794"/>
                  <a:pt x="7627995" y="3868787"/>
                </a:cubicBezTo>
                <a:lnTo>
                  <a:pt x="7628535" y="3862150"/>
                </a:lnTo>
                <a:cubicBezTo>
                  <a:pt x="7628704" y="3862145"/>
                  <a:pt x="7628873" y="3862140"/>
                  <a:pt x="7629040" y="3862087"/>
                </a:cubicBezTo>
                <a:cubicBezTo>
                  <a:pt x="7679317" y="3511992"/>
                  <a:pt x="7960356" y="3233421"/>
                  <a:pt x="8319206" y="3174489"/>
                </a:cubicBezTo>
                <a:lnTo>
                  <a:pt x="8319323" y="3173350"/>
                </a:lnTo>
                <a:cubicBezTo>
                  <a:pt x="8324632" y="3172348"/>
                  <a:pt x="8329960" y="3171407"/>
                  <a:pt x="8335536" y="3171823"/>
                </a:cubicBezTo>
                <a:cubicBezTo>
                  <a:pt x="8366719" y="3166310"/>
                  <a:pt x="8398612" y="3163352"/>
                  <a:pt x="8430998" y="3162829"/>
                </a:cubicBezTo>
                <a:close/>
                <a:moveTo>
                  <a:pt x="6769722" y="3161219"/>
                </a:moveTo>
                <a:lnTo>
                  <a:pt x="6786810" y="3162829"/>
                </a:lnTo>
                <a:cubicBezTo>
                  <a:pt x="6819195" y="3163352"/>
                  <a:pt x="6851088" y="3166310"/>
                  <a:pt x="6882271" y="3171823"/>
                </a:cubicBezTo>
                <a:cubicBezTo>
                  <a:pt x="6887847" y="3171407"/>
                  <a:pt x="6893175" y="3172348"/>
                  <a:pt x="6898484" y="3173350"/>
                </a:cubicBezTo>
                <a:lnTo>
                  <a:pt x="6898601" y="3174489"/>
                </a:lnTo>
                <a:cubicBezTo>
                  <a:pt x="7257451" y="3233421"/>
                  <a:pt x="7538490" y="3511992"/>
                  <a:pt x="7588766" y="3862087"/>
                </a:cubicBezTo>
                <a:cubicBezTo>
                  <a:pt x="7588934" y="3862140"/>
                  <a:pt x="7589103" y="3862145"/>
                  <a:pt x="7589272" y="3862150"/>
                </a:cubicBezTo>
                <a:lnTo>
                  <a:pt x="7589812" y="3868787"/>
                </a:lnTo>
                <a:cubicBezTo>
                  <a:pt x="7594869" y="3898794"/>
                  <a:pt x="7597319" y="3929436"/>
                  <a:pt x="7597276" y="3960518"/>
                </a:cubicBezTo>
                <a:cubicBezTo>
                  <a:pt x="7598588" y="3966104"/>
                  <a:pt x="7598647" y="3971728"/>
                  <a:pt x="7598647" y="3977366"/>
                </a:cubicBezTo>
                <a:cubicBezTo>
                  <a:pt x="7598647" y="3981158"/>
                  <a:pt x="7598620" y="3984944"/>
                  <a:pt x="7598054" y="3988716"/>
                </a:cubicBezTo>
                <a:lnTo>
                  <a:pt x="7597555" y="3988683"/>
                </a:lnTo>
                <a:lnTo>
                  <a:pt x="7597529" y="3989174"/>
                </a:lnTo>
                <a:lnTo>
                  <a:pt x="7580411" y="3987561"/>
                </a:lnTo>
                <a:cubicBezTo>
                  <a:pt x="7548036" y="3987038"/>
                  <a:pt x="7516156" y="3984080"/>
                  <a:pt x="7484984" y="3978570"/>
                </a:cubicBezTo>
                <a:cubicBezTo>
                  <a:pt x="7479407" y="3978986"/>
                  <a:pt x="7474078" y="3978045"/>
                  <a:pt x="7468767" y="3977042"/>
                </a:cubicBezTo>
                <a:lnTo>
                  <a:pt x="7468651" y="3975903"/>
                </a:lnTo>
                <a:cubicBezTo>
                  <a:pt x="7109800" y="3916971"/>
                  <a:pt x="6828761" y="3638399"/>
                  <a:pt x="6778486" y="3288305"/>
                </a:cubicBezTo>
                <a:cubicBezTo>
                  <a:pt x="6778318" y="3288253"/>
                  <a:pt x="6778150" y="3288248"/>
                  <a:pt x="6777980" y="3288243"/>
                </a:cubicBezTo>
                <a:lnTo>
                  <a:pt x="6777442" y="3281619"/>
                </a:lnTo>
                <a:cubicBezTo>
                  <a:pt x="6772383" y="3251607"/>
                  <a:pt x="6769933" y="3220958"/>
                  <a:pt x="6769975" y="3189869"/>
                </a:cubicBezTo>
                <a:cubicBezTo>
                  <a:pt x="6768663" y="3184286"/>
                  <a:pt x="6768604" y="3178663"/>
                  <a:pt x="6768604" y="3173027"/>
                </a:cubicBezTo>
                <a:lnTo>
                  <a:pt x="6769198" y="3161677"/>
                </a:lnTo>
                <a:lnTo>
                  <a:pt x="6769696" y="3161709"/>
                </a:lnTo>
                <a:close/>
                <a:moveTo>
                  <a:pt x="6755934" y="3161219"/>
                </a:moveTo>
                <a:lnTo>
                  <a:pt x="6755960" y="3161709"/>
                </a:lnTo>
                <a:lnTo>
                  <a:pt x="6756458" y="3161677"/>
                </a:lnTo>
                <a:lnTo>
                  <a:pt x="6757052" y="3173027"/>
                </a:lnTo>
                <a:cubicBezTo>
                  <a:pt x="6757052" y="3178663"/>
                  <a:pt x="6756994" y="3184286"/>
                  <a:pt x="6755682" y="3189869"/>
                </a:cubicBezTo>
                <a:cubicBezTo>
                  <a:pt x="6755724" y="3220958"/>
                  <a:pt x="6753273" y="3251607"/>
                  <a:pt x="6748215" y="3281619"/>
                </a:cubicBezTo>
                <a:lnTo>
                  <a:pt x="6747676" y="3288243"/>
                </a:lnTo>
                <a:cubicBezTo>
                  <a:pt x="6747507" y="3288248"/>
                  <a:pt x="6747338" y="3288253"/>
                  <a:pt x="6747171" y="3288305"/>
                </a:cubicBezTo>
                <a:cubicBezTo>
                  <a:pt x="6696895" y="3638399"/>
                  <a:pt x="6415856" y="3916971"/>
                  <a:pt x="6057005" y="3975903"/>
                </a:cubicBezTo>
                <a:lnTo>
                  <a:pt x="6056889" y="3977042"/>
                </a:lnTo>
                <a:cubicBezTo>
                  <a:pt x="6051578" y="3978045"/>
                  <a:pt x="6046249" y="3978986"/>
                  <a:pt x="6040672" y="3978570"/>
                </a:cubicBezTo>
                <a:cubicBezTo>
                  <a:pt x="6009500" y="3984080"/>
                  <a:pt x="5977620" y="3987038"/>
                  <a:pt x="5945246" y="3987561"/>
                </a:cubicBezTo>
                <a:lnTo>
                  <a:pt x="5928127" y="3989174"/>
                </a:lnTo>
                <a:lnTo>
                  <a:pt x="5928101" y="3988683"/>
                </a:lnTo>
                <a:lnTo>
                  <a:pt x="5927602" y="3988716"/>
                </a:lnTo>
                <a:cubicBezTo>
                  <a:pt x="5927036" y="3984944"/>
                  <a:pt x="5927009" y="3981158"/>
                  <a:pt x="5927009" y="3977366"/>
                </a:cubicBezTo>
                <a:cubicBezTo>
                  <a:pt x="5927009" y="3971728"/>
                  <a:pt x="5927068" y="3966104"/>
                  <a:pt x="5928380" y="3960518"/>
                </a:cubicBezTo>
                <a:cubicBezTo>
                  <a:pt x="5928338" y="3929436"/>
                  <a:pt x="5930787" y="3898794"/>
                  <a:pt x="5935844" y="3868787"/>
                </a:cubicBezTo>
                <a:lnTo>
                  <a:pt x="5936384" y="3862150"/>
                </a:lnTo>
                <a:cubicBezTo>
                  <a:pt x="5936553" y="3862145"/>
                  <a:pt x="5936722" y="3862140"/>
                  <a:pt x="5936890" y="3862087"/>
                </a:cubicBezTo>
                <a:cubicBezTo>
                  <a:pt x="5987166" y="3511992"/>
                  <a:pt x="6268205" y="3233421"/>
                  <a:pt x="6627056" y="3174489"/>
                </a:cubicBezTo>
                <a:lnTo>
                  <a:pt x="6627173" y="3173350"/>
                </a:lnTo>
                <a:cubicBezTo>
                  <a:pt x="6632481" y="3172348"/>
                  <a:pt x="6637809" y="3171407"/>
                  <a:pt x="6643385" y="3171823"/>
                </a:cubicBezTo>
                <a:cubicBezTo>
                  <a:pt x="6674569" y="3166310"/>
                  <a:pt x="6706461" y="3163352"/>
                  <a:pt x="6738847" y="3162829"/>
                </a:cubicBezTo>
                <a:close/>
                <a:moveTo>
                  <a:pt x="5077571" y="3161219"/>
                </a:moveTo>
                <a:lnTo>
                  <a:pt x="5094659" y="3162829"/>
                </a:lnTo>
                <a:cubicBezTo>
                  <a:pt x="5127044" y="3163352"/>
                  <a:pt x="5158937" y="3166310"/>
                  <a:pt x="5190120" y="3171823"/>
                </a:cubicBezTo>
                <a:cubicBezTo>
                  <a:pt x="5195696" y="3171407"/>
                  <a:pt x="5201024" y="3172348"/>
                  <a:pt x="5206334" y="3173350"/>
                </a:cubicBezTo>
                <a:lnTo>
                  <a:pt x="5206450" y="3174489"/>
                </a:lnTo>
                <a:cubicBezTo>
                  <a:pt x="5565300" y="3233421"/>
                  <a:pt x="5846339" y="3511992"/>
                  <a:pt x="5896616" y="3862087"/>
                </a:cubicBezTo>
                <a:cubicBezTo>
                  <a:pt x="5896783" y="3862140"/>
                  <a:pt x="5896953" y="3862145"/>
                  <a:pt x="5897121" y="3862150"/>
                </a:cubicBezTo>
                <a:lnTo>
                  <a:pt x="5897662" y="3868787"/>
                </a:lnTo>
                <a:cubicBezTo>
                  <a:pt x="5902718" y="3898794"/>
                  <a:pt x="5905168" y="3929436"/>
                  <a:pt x="5905126" y="3960518"/>
                </a:cubicBezTo>
                <a:cubicBezTo>
                  <a:pt x="5906438" y="3966104"/>
                  <a:pt x="5906496" y="3971728"/>
                  <a:pt x="5906496" y="3977366"/>
                </a:cubicBezTo>
                <a:cubicBezTo>
                  <a:pt x="5906496" y="3981158"/>
                  <a:pt x="5906469" y="3984944"/>
                  <a:pt x="5905903" y="3988716"/>
                </a:cubicBezTo>
                <a:lnTo>
                  <a:pt x="5905404" y="3988683"/>
                </a:lnTo>
                <a:lnTo>
                  <a:pt x="5905378" y="3989174"/>
                </a:lnTo>
                <a:lnTo>
                  <a:pt x="5888260" y="3987561"/>
                </a:lnTo>
                <a:cubicBezTo>
                  <a:pt x="5855886" y="3987038"/>
                  <a:pt x="5824005" y="3984080"/>
                  <a:pt x="5792833" y="3978570"/>
                </a:cubicBezTo>
                <a:cubicBezTo>
                  <a:pt x="5787256" y="3978986"/>
                  <a:pt x="5781927" y="3978045"/>
                  <a:pt x="5776617" y="3977042"/>
                </a:cubicBezTo>
                <a:lnTo>
                  <a:pt x="5776501" y="3975903"/>
                </a:lnTo>
                <a:cubicBezTo>
                  <a:pt x="5417649" y="3916971"/>
                  <a:pt x="5136610" y="3638399"/>
                  <a:pt x="5086335" y="3288305"/>
                </a:cubicBezTo>
                <a:cubicBezTo>
                  <a:pt x="5086167" y="3288253"/>
                  <a:pt x="5085999" y="3288248"/>
                  <a:pt x="5085830" y="3288243"/>
                </a:cubicBezTo>
                <a:lnTo>
                  <a:pt x="5085291" y="3281619"/>
                </a:lnTo>
                <a:cubicBezTo>
                  <a:pt x="5080233" y="3251607"/>
                  <a:pt x="5077782" y="3220958"/>
                  <a:pt x="5077824" y="3189869"/>
                </a:cubicBezTo>
                <a:cubicBezTo>
                  <a:pt x="5076512" y="3184286"/>
                  <a:pt x="5076453" y="3178663"/>
                  <a:pt x="5076453" y="3173027"/>
                </a:cubicBezTo>
                <a:lnTo>
                  <a:pt x="5077047" y="3161677"/>
                </a:lnTo>
                <a:lnTo>
                  <a:pt x="5077545" y="3161709"/>
                </a:lnTo>
                <a:close/>
                <a:moveTo>
                  <a:pt x="5063783" y="3161219"/>
                </a:moveTo>
                <a:lnTo>
                  <a:pt x="5063809" y="3161709"/>
                </a:lnTo>
                <a:lnTo>
                  <a:pt x="5064307" y="3161677"/>
                </a:lnTo>
                <a:lnTo>
                  <a:pt x="5064902" y="3173027"/>
                </a:lnTo>
                <a:cubicBezTo>
                  <a:pt x="5064902" y="3178663"/>
                  <a:pt x="5064842" y="3184286"/>
                  <a:pt x="5063530" y="3189869"/>
                </a:cubicBezTo>
                <a:cubicBezTo>
                  <a:pt x="5063572" y="3220958"/>
                  <a:pt x="5061122" y="3251607"/>
                  <a:pt x="5056063" y="3281619"/>
                </a:cubicBezTo>
                <a:lnTo>
                  <a:pt x="5055525" y="3288243"/>
                </a:lnTo>
                <a:cubicBezTo>
                  <a:pt x="5055355" y="3288248"/>
                  <a:pt x="5055187" y="3288253"/>
                  <a:pt x="5055019" y="3288305"/>
                </a:cubicBezTo>
                <a:cubicBezTo>
                  <a:pt x="5004744" y="3638399"/>
                  <a:pt x="4723705" y="3916971"/>
                  <a:pt x="4364853" y="3975903"/>
                </a:cubicBezTo>
                <a:lnTo>
                  <a:pt x="4364737" y="3977042"/>
                </a:lnTo>
                <a:cubicBezTo>
                  <a:pt x="4359427" y="3978045"/>
                  <a:pt x="4354098" y="3978986"/>
                  <a:pt x="4348521" y="3978570"/>
                </a:cubicBezTo>
                <a:cubicBezTo>
                  <a:pt x="4317350" y="3984080"/>
                  <a:pt x="4285468" y="3987038"/>
                  <a:pt x="4253094" y="3987561"/>
                </a:cubicBezTo>
                <a:lnTo>
                  <a:pt x="4235976" y="3989174"/>
                </a:lnTo>
                <a:lnTo>
                  <a:pt x="4235950" y="3988683"/>
                </a:lnTo>
                <a:lnTo>
                  <a:pt x="4235451" y="3988716"/>
                </a:lnTo>
                <a:cubicBezTo>
                  <a:pt x="4234885" y="3984944"/>
                  <a:pt x="4234858" y="3981158"/>
                  <a:pt x="4234858" y="3977366"/>
                </a:cubicBezTo>
                <a:cubicBezTo>
                  <a:pt x="4234858" y="3971728"/>
                  <a:pt x="4234916" y="3966104"/>
                  <a:pt x="4236228" y="3960518"/>
                </a:cubicBezTo>
                <a:cubicBezTo>
                  <a:pt x="4236186" y="3929436"/>
                  <a:pt x="4238636" y="3898794"/>
                  <a:pt x="4243692" y="3868787"/>
                </a:cubicBezTo>
                <a:lnTo>
                  <a:pt x="4244233" y="3862150"/>
                </a:lnTo>
                <a:cubicBezTo>
                  <a:pt x="4244401" y="3862145"/>
                  <a:pt x="4244571" y="3862140"/>
                  <a:pt x="4244738" y="3862087"/>
                </a:cubicBezTo>
                <a:cubicBezTo>
                  <a:pt x="4295015" y="3511992"/>
                  <a:pt x="4576054" y="3233421"/>
                  <a:pt x="4934904" y="3174489"/>
                </a:cubicBezTo>
                <a:lnTo>
                  <a:pt x="4935021" y="3173350"/>
                </a:lnTo>
                <a:cubicBezTo>
                  <a:pt x="4940330" y="3172348"/>
                  <a:pt x="4945658" y="3171407"/>
                  <a:pt x="4951234" y="3171823"/>
                </a:cubicBezTo>
                <a:cubicBezTo>
                  <a:pt x="4982417" y="3166310"/>
                  <a:pt x="5014310" y="3163352"/>
                  <a:pt x="5046695" y="3162829"/>
                </a:cubicBezTo>
                <a:close/>
                <a:moveTo>
                  <a:pt x="3385420" y="3161219"/>
                </a:moveTo>
                <a:lnTo>
                  <a:pt x="3402507" y="3162829"/>
                </a:lnTo>
                <a:cubicBezTo>
                  <a:pt x="3434893" y="3163352"/>
                  <a:pt x="3466785" y="3166310"/>
                  <a:pt x="3497969" y="3171823"/>
                </a:cubicBezTo>
                <a:cubicBezTo>
                  <a:pt x="3503545" y="3171407"/>
                  <a:pt x="3508873" y="3172348"/>
                  <a:pt x="3514181" y="3173350"/>
                </a:cubicBezTo>
                <a:lnTo>
                  <a:pt x="3514298" y="3174489"/>
                </a:lnTo>
                <a:cubicBezTo>
                  <a:pt x="3873149" y="3233421"/>
                  <a:pt x="4154188" y="3511992"/>
                  <a:pt x="4204464" y="3862087"/>
                </a:cubicBezTo>
                <a:cubicBezTo>
                  <a:pt x="4204632" y="3862140"/>
                  <a:pt x="4204801" y="3862145"/>
                  <a:pt x="4204970" y="3862150"/>
                </a:cubicBezTo>
                <a:lnTo>
                  <a:pt x="4205510" y="3868787"/>
                </a:lnTo>
                <a:cubicBezTo>
                  <a:pt x="4210567" y="3898794"/>
                  <a:pt x="4213016" y="3929436"/>
                  <a:pt x="4212974" y="3960518"/>
                </a:cubicBezTo>
                <a:cubicBezTo>
                  <a:pt x="4214286" y="3966104"/>
                  <a:pt x="4214345" y="3971728"/>
                  <a:pt x="4214345" y="3977366"/>
                </a:cubicBezTo>
                <a:cubicBezTo>
                  <a:pt x="4214345" y="3981158"/>
                  <a:pt x="4214318" y="3984944"/>
                  <a:pt x="4213752" y="3988716"/>
                </a:cubicBezTo>
                <a:lnTo>
                  <a:pt x="4213253" y="3988683"/>
                </a:lnTo>
                <a:lnTo>
                  <a:pt x="4213227" y="3989174"/>
                </a:lnTo>
                <a:lnTo>
                  <a:pt x="4196108" y="3987561"/>
                </a:lnTo>
                <a:cubicBezTo>
                  <a:pt x="4163734" y="3987038"/>
                  <a:pt x="4131854" y="3984080"/>
                  <a:pt x="4100682" y="3978570"/>
                </a:cubicBezTo>
                <a:cubicBezTo>
                  <a:pt x="4095105" y="3978986"/>
                  <a:pt x="4089776" y="3978045"/>
                  <a:pt x="4084465" y="3977042"/>
                </a:cubicBezTo>
                <a:lnTo>
                  <a:pt x="4084349" y="3975903"/>
                </a:lnTo>
                <a:cubicBezTo>
                  <a:pt x="3725498" y="3916971"/>
                  <a:pt x="3444459" y="3638399"/>
                  <a:pt x="3394183" y="3288305"/>
                </a:cubicBezTo>
                <a:cubicBezTo>
                  <a:pt x="3394016" y="3288253"/>
                  <a:pt x="3393847" y="3288248"/>
                  <a:pt x="3393678" y="3288243"/>
                </a:cubicBezTo>
                <a:lnTo>
                  <a:pt x="3393139" y="3281619"/>
                </a:lnTo>
                <a:cubicBezTo>
                  <a:pt x="3388081" y="3251607"/>
                  <a:pt x="3385630" y="3220958"/>
                  <a:pt x="3385672" y="3189869"/>
                </a:cubicBezTo>
                <a:cubicBezTo>
                  <a:pt x="3384360" y="3184286"/>
                  <a:pt x="3384302" y="3178663"/>
                  <a:pt x="3384302" y="3173027"/>
                </a:cubicBezTo>
                <a:lnTo>
                  <a:pt x="3384896" y="3161677"/>
                </a:lnTo>
                <a:lnTo>
                  <a:pt x="3385394" y="3161709"/>
                </a:lnTo>
                <a:close/>
                <a:moveTo>
                  <a:pt x="3371632" y="3161219"/>
                </a:moveTo>
                <a:lnTo>
                  <a:pt x="3371658" y="3161709"/>
                </a:lnTo>
                <a:lnTo>
                  <a:pt x="3372156" y="3161677"/>
                </a:lnTo>
                <a:lnTo>
                  <a:pt x="3372750" y="3173027"/>
                </a:lnTo>
                <a:cubicBezTo>
                  <a:pt x="3372750" y="3178663"/>
                  <a:pt x="3372691" y="3184286"/>
                  <a:pt x="3371379" y="3189869"/>
                </a:cubicBezTo>
                <a:cubicBezTo>
                  <a:pt x="3371421" y="3220958"/>
                  <a:pt x="3368971" y="3251607"/>
                  <a:pt x="3363912" y="3281619"/>
                </a:cubicBezTo>
                <a:lnTo>
                  <a:pt x="3363374" y="3288243"/>
                </a:lnTo>
                <a:cubicBezTo>
                  <a:pt x="3363204" y="3288248"/>
                  <a:pt x="3363036" y="3288253"/>
                  <a:pt x="3362868" y="3288305"/>
                </a:cubicBezTo>
                <a:cubicBezTo>
                  <a:pt x="3312593" y="3638399"/>
                  <a:pt x="3031554" y="3916971"/>
                  <a:pt x="2672703" y="3975903"/>
                </a:cubicBezTo>
                <a:lnTo>
                  <a:pt x="2672586" y="3977042"/>
                </a:lnTo>
                <a:cubicBezTo>
                  <a:pt x="2667276" y="3978045"/>
                  <a:pt x="2661947" y="3978986"/>
                  <a:pt x="2656370" y="3978570"/>
                </a:cubicBezTo>
                <a:cubicBezTo>
                  <a:pt x="2625198" y="3984080"/>
                  <a:pt x="2593318" y="3987038"/>
                  <a:pt x="2560943" y="3987561"/>
                </a:cubicBezTo>
                <a:lnTo>
                  <a:pt x="2543825" y="3989174"/>
                </a:lnTo>
                <a:lnTo>
                  <a:pt x="2543799" y="3988683"/>
                </a:lnTo>
                <a:lnTo>
                  <a:pt x="2543300" y="3988716"/>
                </a:lnTo>
                <a:cubicBezTo>
                  <a:pt x="2542734" y="3984944"/>
                  <a:pt x="2542707" y="3981158"/>
                  <a:pt x="2542707" y="3977366"/>
                </a:cubicBezTo>
                <a:cubicBezTo>
                  <a:pt x="2542707" y="3971728"/>
                  <a:pt x="2542765" y="3966104"/>
                  <a:pt x="2544077" y="3960518"/>
                </a:cubicBezTo>
                <a:cubicBezTo>
                  <a:pt x="2544035" y="3929436"/>
                  <a:pt x="2546485" y="3898794"/>
                  <a:pt x="2551541" y="3868787"/>
                </a:cubicBezTo>
                <a:lnTo>
                  <a:pt x="2552082" y="3862150"/>
                </a:lnTo>
                <a:cubicBezTo>
                  <a:pt x="2552250" y="3862145"/>
                  <a:pt x="2552420" y="3862140"/>
                  <a:pt x="2552587" y="3862087"/>
                </a:cubicBezTo>
                <a:cubicBezTo>
                  <a:pt x="2602864" y="3511992"/>
                  <a:pt x="2883903" y="3233421"/>
                  <a:pt x="3242753" y="3174489"/>
                </a:cubicBezTo>
                <a:lnTo>
                  <a:pt x="3242870" y="3173350"/>
                </a:lnTo>
                <a:cubicBezTo>
                  <a:pt x="3248179" y="3172348"/>
                  <a:pt x="3253507" y="3171407"/>
                  <a:pt x="3259083" y="3171823"/>
                </a:cubicBezTo>
                <a:cubicBezTo>
                  <a:pt x="3290266" y="3166310"/>
                  <a:pt x="3322159" y="3163352"/>
                  <a:pt x="3354544" y="3162829"/>
                </a:cubicBezTo>
                <a:close/>
                <a:moveTo>
                  <a:pt x="1693269" y="3161219"/>
                </a:moveTo>
                <a:lnTo>
                  <a:pt x="1710356" y="3162829"/>
                </a:lnTo>
                <a:cubicBezTo>
                  <a:pt x="1742742" y="3163352"/>
                  <a:pt x="1774634" y="3166310"/>
                  <a:pt x="1805818" y="3171823"/>
                </a:cubicBezTo>
                <a:cubicBezTo>
                  <a:pt x="1811394" y="3171407"/>
                  <a:pt x="1816722" y="3172348"/>
                  <a:pt x="1822030" y="3173350"/>
                </a:cubicBezTo>
                <a:lnTo>
                  <a:pt x="1822148" y="3174489"/>
                </a:lnTo>
                <a:cubicBezTo>
                  <a:pt x="2180998" y="3233421"/>
                  <a:pt x="2462037" y="3511992"/>
                  <a:pt x="2512313" y="3862087"/>
                </a:cubicBezTo>
                <a:cubicBezTo>
                  <a:pt x="2512481" y="3862140"/>
                  <a:pt x="2512650" y="3862145"/>
                  <a:pt x="2512819" y="3862150"/>
                </a:cubicBezTo>
                <a:lnTo>
                  <a:pt x="2513359" y="3868787"/>
                </a:lnTo>
                <a:cubicBezTo>
                  <a:pt x="2518416" y="3898794"/>
                  <a:pt x="2520865" y="3929436"/>
                  <a:pt x="2520823" y="3960518"/>
                </a:cubicBezTo>
                <a:cubicBezTo>
                  <a:pt x="2522135" y="3966104"/>
                  <a:pt x="2522194" y="3971728"/>
                  <a:pt x="2522194" y="3977366"/>
                </a:cubicBezTo>
                <a:cubicBezTo>
                  <a:pt x="2522194" y="3981158"/>
                  <a:pt x="2522167" y="3984944"/>
                  <a:pt x="2521601" y="3988716"/>
                </a:cubicBezTo>
                <a:lnTo>
                  <a:pt x="2521102" y="3988683"/>
                </a:lnTo>
                <a:lnTo>
                  <a:pt x="2521076" y="3989174"/>
                </a:lnTo>
                <a:lnTo>
                  <a:pt x="2503957" y="3987561"/>
                </a:lnTo>
                <a:cubicBezTo>
                  <a:pt x="2471583" y="3987038"/>
                  <a:pt x="2439703" y="3984080"/>
                  <a:pt x="2408531" y="3978570"/>
                </a:cubicBezTo>
                <a:cubicBezTo>
                  <a:pt x="2402954" y="3978986"/>
                  <a:pt x="2397625" y="3978045"/>
                  <a:pt x="2392314" y="3977042"/>
                </a:cubicBezTo>
                <a:lnTo>
                  <a:pt x="2392198" y="3975903"/>
                </a:lnTo>
                <a:cubicBezTo>
                  <a:pt x="2033347" y="3916971"/>
                  <a:pt x="1752308" y="3638399"/>
                  <a:pt x="1702032" y="3288305"/>
                </a:cubicBezTo>
                <a:cubicBezTo>
                  <a:pt x="1701865" y="3288253"/>
                  <a:pt x="1701696" y="3288248"/>
                  <a:pt x="1701527" y="3288243"/>
                </a:cubicBezTo>
                <a:lnTo>
                  <a:pt x="1700989" y="3281619"/>
                </a:lnTo>
                <a:cubicBezTo>
                  <a:pt x="1695930" y="3251607"/>
                  <a:pt x="1693479" y="3220958"/>
                  <a:pt x="1693521" y="3189869"/>
                </a:cubicBezTo>
                <a:cubicBezTo>
                  <a:pt x="1692209" y="3184286"/>
                  <a:pt x="1692151" y="3178663"/>
                  <a:pt x="1692151" y="3173027"/>
                </a:cubicBezTo>
                <a:lnTo>
                  <a:pt x="1692745" y="3161677"/>
                </a:lnTo>
                <a:lnTo>
                  <a:pt x="1693243" y="3161709"/>
                </a:lnTo>
                <a:close/>
                <a:moveTo>
                  <a:pt x="1679481" y="3161219"/>
                </a:moveTo>
                <a:lnTo>
                  <a:pt x="1679507" y="3161709"/>
                </a:lnTo>
                <a:lnTo>
                  <a:pt x="1680005" y="3161677"/>
                </a:lnTo>
                <a:lnTo>
                  <a:pt x="1680599" y="3173027"/>
                </a:lnTo>
                <a:cubicBezTo>
                  <a:pt x="1680599" y="3178663"/>
                  <a:pt x="1680540" y="3184286"/>
                  <a:pt x="1679228" y="3189869"/>
                </a:cubicBezTo>
                <a:cubicBezTo>
                  <a:pt x="1679270" y="3220958"/>
                  <a:pt x="1676820" y="3251607"/>
                  <a:pt x="1671761" y="3281619"/>
                </a:cubicBezTo>
                <a:lnTo>
                  <a:pt x="1671223" y="3288243"/>
                </a:lnTo>
                <a:cubicBezTo>
                  <a:pt x="1671053" y="3288248"/>
                  <a:pt x="1670885" y="3288253"/>
                  <a:pt x="1670717" y="3288305"/>
                </a:cubicBezTo>
                <a:cubicBezTo>
                  <a:pt x="1620442" y="3638399"/>
                  <a:pt x="1339403" y="3916971"/>
                  <a:pt x="980552" y="3975903"/>
                </a:cubicBezTo>
                <a:lnTo>
                  <a:pt x="980435" y="3977042"/>
                </a:lnTo>
                <a:cubicBezTo>
                  <a:pt x="975125" y="3978045"/>
                  <a:pt x="969796" y="3978986"/>
                  <a:pt x="964219" y="3978570"/>
                </a:cubicBezTo>
                <a:cubicBezTo>
                  <a:pt x="933047" y="3984080"/>
                  <a:pt x="901167" y="3987038"/>
                  <a:pt x="868792" y="3987561"/>
                </a:cubicBezTo>
                <a:lnTo>
                  <a:pt x="851674" y="3989174"/>
                </a:lnTo>
                <a:lnTo>
                  <a:pt x="851648" y="3988683"/>
                </a:lnTo>
                <a:lnTo>
                  <a:pt x="851149" y="3988716"/>
                </a:lnTo>
                <a:cubicBezTo>
                  <a:pt x="850583" y="3984944"/>
                  <a:pt x="850556" y="3981158"/>
                  <a:pt x="850556" y="3977366"/>
                </a:cubicBezTo>
                <a:cubicBezTo>
                  <a:pt x="850556" y="3971728"/>
                  <a:pt x="850614" y="3966104"/>
                  <a:pt x="851926" y="3960518"/>
                </a:cubicBezTo>
                <a:cubicBezTo>
                  <a:pt x="851884" y="3929436"/>
                  <a:pt x="854334" y="3898794"/>
                  <a:pt x="859390" y="3868787"/>
                </a:cubicBezTo>
                <a:lnTo>
                  <a:pt x="859931" y="3862150"/>
                </a:lnTo>
                <a:cubicBezTo>
                  <a:pt x="860099" y="3862145"/>
                  <a:pt x="860269" y="3862140"/>
                  <a:pt x="860436" y="3862087"/>
                </a:cubicBezTo>
                <a:cubicBezTo>
                  <a:pt x="910713" y="3511992"/>
                  <a:pt x="1191752" y="3233421"/>
                  <a:pt x="1550602" y="3174489"/>
                </a:cubicBezTo>
                <a:lnTo>
                  <a:pt x="1550719" y="3173350"/>
                </a:lnTo>
                <a:cubicBezTo>
                  <a:pt x="1556028" y="3172348"/>
                  <a:pt x="1561356" y="3171407"/>
                  <a:pt x="1566932" y="3171823"/>
                </a:cubicBezTo>
                <a:cubicBezTo>
                  <a:pt x="1598115" y="3166310"/>
                  <a:pt x="1630008" y="3163352"/>
                  <a:pt x="1662393" y="3162829"/>
                </a:cubicBezTo>
                <a:close/>
                <a:moveTo>
                  <a:pt x="1118" y="3161219"/>
                </a:moveTo>
                <a:lnTo>
                  <a:pt x="18205" y="3162829"/>
                </a:lnTo>
                <a:cubicBezTo>
                  <a:pt x="50591" y="3163352"/>
                  <a:pt x="82483" y="3166310"/>
                  <a:pt x="113667" y="3171823"/>
                </a:cubicBezTo>
                <a:cubicBezTo>
                  <a:pt x="119243" y="3171407"/>
                  <a:pt x="124571" y="3172348"/>
                  <a:pt x="129879" y="3173350"/>
                </a:cubicBezTo>
                <a:lnTo>
                  <a:pt x="129997" y="3174489"/>
                </a:lnTo>
                <a:cubicBezTo>
                  <a:pt x="488847" y="3233421"/>
                  <a:pt x="769886" y="3511992"/>
                  <a:pt x="820162" y="3862087"/>
                </a:cubicBezTo>
                <a:cubicBezTo>
                  <a:pt x="820330" y="3862140"/>
                  <a:pt x="820499" y="3862145"/>
                  <a:pt x="820668" y="3862150"/>
                </a:cubicBezTo>
                <a:lnTo>
                  <a:pt x="821208" y="3868787"/>
                </a:lnTo>
                <a:cubicBezTo>
                  <a:pt x="826265" y="3898794"/>
                  <a:pt x="828714" y="3929436"/>
                  <a:pt x="828672" y="3960518"/>
                </a:cubicBezTo>
                <a:cubicBezTo>
                  <a:pt x="829984" y="3966104"/>
                  <a:pt x="830043" y="3971728"/>
                  <a:pt x="830043" y="3977366"/>
                </a:cubicBezTo>
                <a:cubicBezTo>
                  <a:pt x="830043" y="3981158"/>
                  <a:pt x="830016" y="3984944"/>
                  <a:pt x="829450" y="3988716"/>
                </a:cubicBezTo>
                <a:lnTo>
                  <a:pt x="828951" y="3988683"/>
                </a:lnTo>
                <a:lnTo>
                  <a:pt x="828925" y="3989174"/>
                </a:lnTo>
                <a:lnTo>
                  <a:pt x="811806" y="3987561"/>
                </a:lnTo>
                <a:cubicBezTo>
                  <a:pt x="779432" y="3987038"/>
                  <a:pt x="747552" y="3984080"/>
                  <a:pt x="716380" y="3978570"/>
                </a:cubicBezTo>
                <a:cubicBezTo>
                  <a:pt x="710803" y="3978986"/>
                  <a:pt x="705474" y="3978045"/>
                  <a:pt x="700163" y="3977042"/>
                </a:cubicBezTo>
                <a:lnTo>
                  <a:pt x="700047" y="3975903"/>
                </a:lnTo>
                <a:cubicBezTo>
                  <a:pt x="341196" y="3916971"/>
                  <a:pt x="60157" y="3638399"/>
                  <a:pt x="9881" y="3288305"/>
                </a:cubicBezTo>
                <a:cubicBezTo>
                  <a:pt x="9714" y="3288253"/>
                  <a:pt x="9545" y="3288248"/>
                  <a:pt x="9376" y="3288243"/>
                </a:cubicBezTo>
                <a:lnTo>
                  <a:pt x="8837" y="3281619"/>
                </a:lnTo>
                <a:cubicBezTo>
                  <a:pt x="3779" y="3251607"/>
                  <a:pt x="1328" y="3220958"/>
                  <a:pt x="1370" y="3189869"/>
                </a:cubicBezTo>
                <a:cubicBezTo>
                  <a:pt x="58" y="3184286"/>
                  <a:pt x="0" y="3178663"/>
                  <a:pt x="0" y="3173027"/>
                </a:cubicBezTo>
                <a:lnTo>
                  <a:pt x="594" y="3161677"/>
                </a:lnTo>
                <a:lnTo>
                  <a:pt x="1092" y="3161709"/>
                </a:lnTo>
                <a:close/>
                <a:moveTo>
                  <a:pt x="7762529" y="2447425"/>
                </a:moveTo>
                <a:cubicBezTo>
                  <a:pt x="7815805" y="2718331"/>
                  <a:pt x="8030648" y="2933128"/>
                  <a:pt x="8305838" y="2992271"/>
                </a:cubicBezTo>
                <a:cubicBezTo>
                  <a:pt x="8252563" y="2721365"/>
                  <a:pt x="8037719" y="2506568"/>
                  <a:pt x="7762529" y="2447425"/>
                </a:cubicBezTo>
                <a:close/>
                <a:moveTo>
                  <a:pt x="7455280" y="2447425"/>
                </a:moveTo>
                <a:cubicBezTo>
                  <a:pt x="7180090" y="2506568"/>
                  <a:pt x="6965246" y="2721365"/>
                  <a:pt x="6911971" y="2992271"/>
                </a:cubicBezTo>
                <a:cubicBezTo>
                  <a:pt x="7187161" y="2933128"/>
                  <a:pt x="7402004" y="2718331"/>
                  <a:pt x="7455280" y="2447425"/>
                </a:cubicBezTo>
                <a:close/>
                <a:moveTo>
                  <a:pt x="6070378" y="2447425"/>
                </a:moveTo>
                <a:cubicBezTo>
                  <a:pt x="6123654" y="2718331"/>
                  <a:pt x="6338497" y="2933128"/>
                  <a:pt x="6613687" y="2992271"/>
                </a:cubicBezTo>
                <a:cubicBezTo>
                  <a:pt x="6560412" y="2721365"/>
                  <a:pt x="6345568" y="2506568"/>
                  <a:pt x="6070378" y="2447425"/>
                </a:cubicBezTo>
                <a:close/>
                <a:moveTo>
                  <a:pt x="5763129" y="2447425"/>
                </a:moveTo>
                <a:cubicBezTo>
                  <a:pt x="5487939" y="2506568"/>
                  <a:pt x="5273095" y="2721365"/>
                  <a:pt x="5219820" y="2992271"/>
                </a:cubicBezTo>
                <a:cubicBezTo>
                  <a:pt x="5495010" y="2933128"/>
                  <a:pt x="5709853" y="2718331"/>
                  <a:pt x="5763129" y="2447425"/>
                </a:cubicBezTo>
                <a:close/>
                <a:moveTo>
                  <a:pt x="4378227" y="2447425"/>
                </a:moveTo>
                <a:cubicBezTo>
                  <a:pt x="4431503" y="2718331"/>
                  <a:pt x="4646346" y="2933128"/>
                  <a:pt x="4921536" y="2992271"/>
                </a:cubicBezTo>
                <a:cubicBezTo>
                  <a:pt x="4868261" y="2721365"/>
                  <a:pt x="4653417" y="2506568"/>
                  <a:pt x="4378227" y="2447425"/>
                </a:cubicBezTo>
                <a:close/>
                <a:moveTo>
                  <a:pt x="4070978" y="2447425"/>
                </a:moveTo>
                <a:cubicBezTo>
                  <a:pt x="3795788" y="2506568"/>
                  <a:pt x="3580944" y="2721365"/>
                  <a:pt x="3527669" y="2992271"/>
                </a:cubicBezTo>
                <a:cubicBezTo>
                  <a:pt x="3802859" y="2933128"/>
                  <a:pt x="4017702" y="2718331"/>
                  <a:pt x="4070978" y="2447425"/>
                </a:cubicBezTo>
                <a:close/>
                <a:moveTo>
                  <a:pt x="2686076" y="2447425"/>
                </a:moveTo>
                <a:cubicBezTo>
                  <a:pt x="2739352" y="2718331"/>
                  <a:pt x="2954195" y="2933128"/>
                  <a:pt x="3229385" y="2992271"/>
                </a:cubicBezTo>
                <a:cubicBezTo>
                  <a:pt x="3176110" y="2721365"/>
                  <a:pt x="2961266" y="2506568"/>
                  <a:pt x="2686076" y="2447425"/>
                </a:cubicBezTo>
                <a:close/>
                <a:moveTo>
                  <a:pt x="2378827" y="2447425"/>
                </a:moveTo>
                <a:cubicBezTo>
                  <a:pt x="2103637" y="2506568"/>
                  <a:pt x="1888793" y="2721365"/>
                  <a:pt x="1835518" y="2992271"/>
                </a:cubicBezTo>
                <a:cubicBezTo>
                  <a:pt x="2110708" y="2933128"/>
                  <a:pt x="2325551" y="2718331"/>
                  <a:pt x="2378827" y="2447425"/>
                </a:cubicBezTo>
                <a:close/>
                <a:moveTo>
                  <a:pt x="993925" y="2447425"/>
                </a:moveTo>
                <a:cubicBezTo>
                  <a:pt x="1047201" y="2718331"/>
                  <a:pt x="1262044" y="2933128"/>
                  <a:pt x="1537234" y="2992271"/>
                </a:cubicBezTo>
                <a:cubicBezTo>
                  <a:pt x="1483959" y="2721365"/>
                  <a:pt x="1269115" y="2506568"/>
                  <a:pt x="993925" y="2447425"/>
                </a:cubicBezTo>
                <a:close/>
                <a:moveTo>
                  <a:pt x="686676" y="2447425"/>
                </a:moveTo>
                <a:cubicBezTo>
                  <a:pt x="411486" y="2506568"/>
                  <a:pt x="196642" y="2721365"/>
                  <a:pt x="143367" y="2992271"/>
                </a:cubicBezTo>
                <a:cubicBezTo>
                  <a:pt x="418557" y="2933128"/>
                  <a:pt x="633400" y="2718331"/>
                  <a:pt x="686676" y="2447425"/>
                </a:cubicBezTo>
                <a:close/>
                <a:moveTo>
                  <a:pt x="9139239" y="2321311"/>
                </a:moveTo>
                <a:lnTo>
                  <a:pt x="9139239" y="2449820"/>
                </a:lnTo>
                <a:lnTo>
                  <a:pt x="9047261" y="2476706"/>
                </a:lnTo>
                <a:cubicBezTo>
                  <a:pt x="8821055" y="2561144"/>
                  <a:pt x="8650738" y="2755228"/>
                  <a:pt x="8604122" y="2992271"/>
                </a:cubicBezTo>
                <a:cubicBezTo>
                  <a:pt x="8844913" y="2940521"/>
                  <a:pt x="9039501" y="2769598"/>
                  <a:pt x="9120077" y="2546190"/>
                </a:cubicBezTo>
                <a:lnTo>
                  <a:pt x="9139239" y="2477003"/>
                </a:lnTo>
                <a:lnTo>
                  <a:pt x="9139239" y="2782562"/>
                </a:lnTo>
                <a:lnTo>
                  <a:pt x="9135069" y="2789374"/>
                </a:lnTo>
                <a:cubicBezTo>
                  <a:pt x="9008919" y="2963003"/>
                  <a:pt x="8815033" y="3086603"/>
                  <a:pt x="8590751" y="3123727"/>
                </a:cubicBezTo>
                <a:lnTo>
                  <a:pt x="8590635" y="3124875"/>
                </a:lnTo>
                <a:cubicBezTo>
                  <a:pt x="8585324" y="3125886"/>
                  <a:pt x="8579995" y="3126834"/>
                  <a:pt x="8574418" y="3126415"/>
                </a:cubicBezTo>
                <a:cubicBezTo>
                  <a:pt x="8543246" y="3131969"/>
                  <a:pt x="8511366" y="3134950"/>
                  <a:pt x="8478991" y="3135477"/>
                </a:cubicBezTo>
                <a:lnTo>
                  <a:pt x="8461873" y="3137103"/>
                </a:lnTo>
                <a:lnTo>
                  <a:pt x="8461847" y="3136608"/>
                </a:lnTo>
                <a:lnTo>
                  <a:pt x="8461348" y="3136641"/>
                </a:lnTo>
                <a:cubicBezTo>
                  <a:pt x="8460782" y="3132839"/>
                  <a:pt x="8460755" y="3129023"/>
                  <a:pt x="8460755" y="3125201"/>
                </a:cubicBezTo>
                <a:cubicBezTo>
                  <a:pt x="8460755" y="3119519"/>
                  <a:pt x="8460814" y="3113850"/>
                  <a:pt x="8462126" y="3108220"/>
                </a:cubicBezTo>
                <a:cubicBezTo>
                  <a:pt x="8462083" y="3076892"/>
                  <a:pt x="8464533" y="3046007"/>
                  <a:pt x="8469590" y="3015763"/>
                </a:cubicBezTo>
                <a:lnTo>
                  <a:pt x="8470130" y="3009073"/>
                </a:lnTo>
                <a:cubicBezTo>
                  <a:pt x="8470299" y="3009068"/>
                  <a:pt x="8470468" y="3009063"/>
                  <a:pt x="8470636" y="3009010"/>
                </a:cubicBezTo>
                <a:cubicBezTo>
                  <a:pt x="8514628" y="2700252"/>
                  <a:pt x="8735297" y="2446688"/>
                  <a:pt x="9030178" y="2348329"/>
                </a:cubicBezTo>
                <a:close/>
                <a:moveTo>
                  <a:pt x="7620280" y="2302594"/>
                </a:moveTo>
                <a:lnTo>
                  <a:pt x="7637367" y="2304217"/>
                </a:lnTo>
                <a:cubicBezTo>
                  <a:pt x="7669753" y="2304744"/>
                  <a:pt x="7701646" y="2307725"/>
                  <a:pt x="7732829" y="2313282"/>
                </a:cubicBezTo>
                <a:cubicBezTo>
                  <a:pt x="7738405" y="2312863"/>
                  <a:pt x="7743733" y="2313811"/>
                  <a:pt x="7749042" y="2314821"/>
                </a:cubicBezTo>
                <a:lnTo>
                  <a:pt x="7749159" y="2315969"/>
                </a:lnTo>
                <a:cubicBezTo>
                  <a:pt x="8108009" y="2375367"/>
                  <a:pt x="8389048" y="2656144"/>
                  <a:pt x="8439324" y="3009010"/>
                </a:cubicBezTo>
                <a:cubicBezTo>
                  <a:pt x="8439492" y="3009063"/>
                  <a:pt x="8439661" y="3009068"/>
                  <a:pt x="8439830" y="3009073"/>
                </a:cubicBezTo>
                <a:lnTo>
                  <a:pt x="8440370" y="3015763"/>
                </a:lnTo>
                <a:cubicBezTo>
                  <a:pt x="8445427" y="3046007"/>
                  <a:pt x="8447877" y="3076892"/>
                  <a:pt x="8447834" y="3108220"/>
                </a:cubicBezTo>
                <a:cubicBezTo>
                  <a:pt x="8449146" y="3113850"/>
                  <a:pt x="8449205" y="3119519"/>
                  <a:pt x="8449205" y="3125201"/>
                </a:cubicBezTo>
                <a:cubicBezTo>
                  <a:pt x="8449205" y="3129023"/>
                  <a:pt x="8449178" y="3132839"/>
                  <a:pt x="8448612" y="3136641"/>
                </a:cubicBezTo>
                <a:lnTo>
                  <a:pt x="8448113" y="3136608"/>
                </a:lnTo>
                <a:lnTo>
                  <a:pt x="8448087" y="3137103"/>
                </a:lnTo>
                <a:lnTo>
                  <a:pt x="8430969" y="3135477"/>
                </a:lnTo>
                <a:cubicBezTo>
                  <a:pt x="8398594" y="3134950"/>
                  <a:pt x="8366714" y="3131969"/>
                  <a:pt x="8335542" y="3126415"/>
                </a:cubicBezTo>
                <a:cubicBezTo>
                  <a:pt x="8329965" y="3126834"/>
                  <a:pt x="8324636" y="3125886"/>
                  <a:pt x="8319325" y="3124875"/>
                </a:cubicBezTo>
                <a:lnTo>
                  <a:pt x="8319209" y="3123727"/>
                </a:lnTo>
                <a:cubicBezTo>
                  <a:pt x="7960358" y="3064328"/>
                  <a:pt x="7679319" y="2783551"/>
                  <a:pt x="7629044" y="2430686"/>
                </a:cubicBezTo>
                <a:cubicBezTo>
                  <a:pt x="7628876" y="2430633"/>
                  <a:pt x="7628708" y="2430628"/>
                  <a:pt x="7628538" y="2430623"/>
                </a:cubicBezTo>
                <a:lnTo>
                  <a:pt x="7628000" y="2423947"/>
                </a:lnTo>
                <a:cubicBezTo>
                  <a:pt x="7622941" y="2393697"/>
                  <a:pt x="7620490" y="2362806"/>
                  <a:pt x="7620533" y="2331471"/>
                </a:cubicBezTo>
                <a:cubicBezTo>
                  <a:pt x="7619221" y="2325843"/>
                  <a:pt x="7619162" y="2320176"/>
                  <a:pt x="7619162" y="2314495"/>
                </a:cubicBezTo>
                <a:lnTo>
                  <a:pt x="7619756" y="2303055"/>
                </a:lnTo>
                <a:lnTo>
                  <a:pt x="7620254" y="2303088"/>
                </a:lnTo>
                <a:close/>
                <a:moveTo>
                  <a:pt x="7597529" y="2302594"/>
                </a:moveTo>
                <a:lnTo>
                  <a:pt x="7597555" y="2303088"/>
                </a:lnTo>
                <a:lnTo>
                  <a:pt x="7598053" y="2303055"/>
                </a:lnTo>
                <a:lnTo>
                  <a:pt x="7598647" y="2314495"/>
                </a:lnTo>
                <a:cubicBezTo>
                  <a:pt x="7598647" y="2320176"/>
                  <a:pt x="7598588" y="2325843"/>
                  <a:pt x="7597276" y="2331471"/>
                </a:cubicBezTo>
                <a:cubicBezTo>
                  <a:pt x="7597319" y="2362806"/>
                  <a:pt x="7594868" y="2393697"/>
                  <a:pt x="7589809" y="2423947"/>
                </a:cubicBezTo>
                <a:lnTo>
                  <a:pt x="7589271" y="2430623"/>
                </a:lnTo>
                <a:cubicBezTo>
                  <a:pt x="7589101" y="2430628"/>
                  <a:pt x="7588933" y="2430633"/>
                  <a:pt x="7588765" y="2430686"/>
                </a:cubicBezTo>
                <a:cubicBezTo>
                  <a:pt x="7538490" y="2783551"/>
                  <a:pt x="7257451" y="3064328"/>
                  <a:pt x="6898600" y="3123727"/>
                </a:cubicBezTo>
                <a:lnTo>
                  <a:pt x="6898484" y="3124875"/>
                </a:lnTo>
                <a:cubicBezTo>
                  <a:pt x="6893173" y="3125886"/>
                  <a:pt x="6887844" y="3126834"/>
                  <a:pt x="6882267" y="3126415"/>
                </a:cubicBezTo>
                <a:cubicBezTo>
                  <a:pt x="6851095" y="3131969"/>
                  <a:pt x="6819215" y="3134950"/>
                  <a:pt x="6786841" y="3135477"/>
                </a:cubicBezTo>
                <a:lnTo>
                  <a:pt x="6769722" y="3137103"/>
                </a:lnTo>
                <a:lnTo>
                  <a:pt x="6769696" y="3136608"/>
                </a:lnTo>
                <a:lnTo>
                  <a:pt x="6769197" y="3136641"/>
                </a:lnTo>
                <a:cubicBezTo>
                  <a:pt x="6768631" y="3132839"/>
                  <a:pt x="6768604" y="3129023"/>
                  <a:pt x="6768604" y="3125201"/>
                </a:cubicBezTo>
                <a:cubicBezTo>
                  <a:pt x="6768604" y="3119519"/>
                  <a:pt x="6768663" y="3113850"/>
                  <a:pt x="6769975" y="3108220"/>
                </a:cubicBezTo>
                <a:cubicBezTo>
                  <a:pt x="6769933" y="3076892"/>
                  <a:pt x="6772382" y="3046007"/>
                  <a:pt x="6777439" y="3015763"/>
                </a:cubicBezTo>
                <a:lnTo>
                  <a:pt x="6777979" y="3009073"/>
                </a:lnTo>
                <a:cubicBezTo>
                  <a:pt x="6778148" y="3009068"/>
                  <a:pt x="6778317" y="3009063"/>
                  <a:pt x="6778485" y="3009010"/>
                </a:cubicBezTo>
                <a:cubicBezTo>
                  <a:pt x="6828761" y="2656144"/>
                  <a:pt x="7109800" y="2375367"/>
                  <a:pt x="7468650" y="2315969"/>
                </a:cubicBezTo>
                <a:lnTo>
                  <a:pt x="7468767" y="2314821"/>
                </a:lnTo>
                <a:cubicBezTo>
                  <a:pt x="7474076" y="2313811"/>
                  <a:pt x="7479404" y="2312863"/>
                  <a:pt x="7484980" y="2313282"/>
                </a:cubicBezTo>
                <a:cubicBezTo>
                  <a:pt x="7516163" y="2307725"/>
                  <a:pt x="7548056" y="2304744"/>
                  <a:pt x="7580442" y="2304217"/>
                </a:cubicBezTo>
                <a:close/>
                <a:moveTo>
                  <a:pt x="5928129" y="2302594"/>
                </a:moveTo>
                <a:lnTo>
                  <a:pt x="5945217" y="2304217"/>
                </a:lnTo>
                <a:cubicBezTo>
                  <a:pt x="5977602" y="2304744"/>
                  <a:pt x="6009495" y="2307725"/>
                  <a:pt x="6040678" y="2313282"/>
                </a:cubicBezTo>
                <a:cubicBezTo>
                  <a:pt x="6046254" y="2312863"/>
                  <a:pt x="6051582" y="2313811"/>
                  <a:pt x="6056891" y="2314821"/>
                </a:cubicBezTo>
                <a:lnTo>
                  <a:pt x="6057008" y="2315969"/>
                </a:lnTo>
                <a:cubicBezTo>
                  <a:pt x="6415858" y="2375367"/>
                  <a:pt x="6696897" y="2656144"/>
                  <a:pt x="6747174" y="3009010"/>
                </a:cubicBezTo>
                <a:cubicBezTo>
                  <a:pt x="6747341" y="3009063"/>
                  <a:pt x="6747511" y="3009068"/>
                  <a:pt x="6747679" y="3009073"/>
                </a:cubicBezTo>
                <a:lnTo>
                  <a:pt x="6748220" y="3015763"/>
                </a:lnTo>
                <a:cubicBezTo>
                  <a:pt x="6753276" y="3046007"/>
                  <a:pt x="6755726" y="3076892"/>
                  <a:pt x="6755684" y="3108220"/>
                </a:cubicBezTo>
                <a:cubicBezTo>
                  <a:pt x="6756996" y="3113850"/>
                  <a:pt x="6757054" y="3119519"/>
                  <a:pt x="6757054" y="3125201"/>
                </a:cubicBezTo>
                <a:cubicBezTo>
                  <a:pt x="6757054" y="3129023"/>
                  <a:pt x="6757027" y="3132839"/>
                  <a:pt x="6756461" y="3136641"/>
                </a:cubicBezTo>
                <a:lnTo>
                  <a:pt x="6755962" y="3136608"/>
                </a:lnTo>
                <a:lnTo>
                  <a:pt x="6755936" y="3137103"/>
                </a:lnTo>
                <a:lnTo>
                  <a:pt x="6738818" y="3135477"/>
                </a:lnTo>
                <a:cubicBezTo>
                  <a:pt x="6706444" y="3134950"/>
                  <a:pt x="6674563" y="3131969"/>
                  <a:pt x="6643391" y="3126415"/>
                </a:cubicBezTo>
                <a:cubicBezTo>
                  <a:pt x="6637814" y="3126834"/>
                  <a:pt x="6632485" y="3125886"/>
                  <a:pt x="6627175" y="3124875"/>
                </a:cubicBezTo>
                <a:lnTo>
                  <a:pt x="6627059" y="3123727"/>
                </a:lnTo>
                <a:cubicBezTo>
                  <a:pt x="6268207" y="3064328"/>
                  <a:pt x="5987168" y="2783551"/>
                  <a:pt x="5936893" y="2430686"/>
                </a:cubicBezTo>
                <a:cubicBezTo>
                  <a:pt x="5936725" y="2430633"/>
                  <a:pt x="5936557" y="2430628"/>
                  <a:pt x="5936387" y="2430623"/>
                </a:cubicBezTo>
                <a:lnTo>
                  <a:pt x="5935849" y="2423947"/>
                </a:lnTo>
                <a:cubicBezTo>
                  <a:pt x="5930790" y="2393697"/>
                  <a:pt x="5928340" y="2362806"/>
                  <a:pt x="5928382" y="2331471"/>
                </a:cubicBezTo>
                <a:cubicBezTo>
                  <a:pt x="5927070" y="2325843"/>
                  <a:pt x="5927011" y="2320176"/>
                  <a:pt x="5927011" y="2314495"/>
                </a:cubicBezTo>
                <a:lnTo>
                  <a:pt x="5927605" y="2303055"/>
                </a:lnTo>
                <a:lnTo>
                  <a:pt x="5928103" y="2303088"/>
                </a:lnTo>
                <a:close/>
                <a:moveTo>
                  <a:pt x="5905378" y="2302594"/>
                </a:moveTo>
                <a:lnTo>
                  <a:pt x="5905404" y="2303088"/>
                </a:lnTo>
                <a:lnTo>
                  <a:pt x="5905902" y="2303055"/>
                </a:lnTo>
                <a:lnTo>
                  <a:pt x="5906496" y="2314495"/>
                </a:lnTo>
                <a:cubicBezTo>
                  <a:pt x="5906496" y="2320176"/>
                  <a:pt x="5906438" y="2325843"/>
                  <a:pt x="5905126" y="2331471"/>
                </a:cubicBezTo>
                <a:cubicBezTo>
                  <a:pt x="5905168" y="2362806"/>
                  <a:pt x="5902717" y="2393697"/>
                  <a:pt x="5897659" y="2423947"/>
                </a:cubicBezTo>
                <a:lnTo>
                  <a:pt x="5897120" y="2430623"/>
                </a:lnTo>
                <a:cubicBezTo>
                  <a:pt x="5896951" y="2430628"/>
                  <a:pt x="5896782" y="2430633"/>
                  <a:pt x="5896615" y="2430686"/>
                </a:cubicBezTo>
                <a:cubicBezTo>
                  <a:pt x="5846339" y="2783551"/>
                  <a:pt x="5565300" y="3064328"/>
                  <a:pt x="5206449" y="3123727"/>
                </a:cubicBezTo>
                <a:lnTo>
                  <a:pt x="5206334" y="3124875"/>
                </a:lnTo>
                <a:cubicBezTo>
                  <a:pt x="5201022" y="3125886"/>
                  <a:pt x="5195693" y="3126834"/>
                  <a:pt x="5190116" y="3126415"/>
                </a:cubicBezTo>
                <a:cubicBezTo>
                  <a:pt x="5158944" y="3131969"/>
                  <a:pt x="5127065" y="3134950"/>
                  <a:pt x="5094690" y="3135477"/>
                </a:cubicBezTo>
                <a:lnTo>
                  <a:pt x="5077571" y="3137103"/>
                </a:lnTo>
                <a:lnTo>
                  <a:pt x="5077545" y="3136608"/>
                </a:lnTo>
                <a:lnTo>
                  <a:pt x="5077046" y="3136641"/>
                </a:lnTo>
                <a:cubicBezTo>
                  <a:pt x="5076480" y="3132839"/>
                  <a:pt x="5076453" y="3129023"/>
                  <a:pt x="5076453" y="3125201"/>
                </a:cubicBezTo>
                <a:cubicBezTo>
                  <a:pt x="5076453" y="3119519"/>
                  <a:pt x="5076512" y="3113850"/>
                  <a:pt x="5077824" y="3108220"/>
                </a:cubicBezTo>
                <a:cubicBezTo>
                  <a:pt x="5077782" y="3076892"/>
                  <a:pt x="5080231" y="3046007"/>
                  <a:pt x="5085288" y="3015763"/>
                </a:cubicBezTo>
                <a:lnTo>
                  <a:pt x="5085828" y="3009073"/>
                </a:lnTo>
                <a:cubicBezTo>
                  <a:pt x="5085997" y="3009068"/>
                  <a:pt x="5086166" y="3009063"/>
                  <a:pt x="5086334" y="3009010"/>
                </a:cubicBezTo>
                <a:cubicBezTo>
                  <a:pt x="5136610" y="2656144"/>
                  <a:pt x="5417649" y="2375367"/>
                  <a:pt x="5776501" y="2315969"/>
                </a:cubicBezTo>
                <a:lnTo>
                  <a:pt x="5776617" y="2314821"/>
                </a:lnTo>
                <a:cubicBezTo>
                  <a:pt x="5781926" y="2313811"/>
                  <a:pt x="5787253" y="2312863"/>
                  <a:pt x="5792829" y="2313282"/>
                </a:cubicBezTo>
                <a:cubicBezTo>
                  <a:pt x="5824013" y="2307725"/>
                  <a:pt x="5855905" y="2304744"/>
                  <a:pt x="5888291" y="2304217"/>
                </a:cubicBezTo>
                <a:close/>
                <a:moveTo>
                  <a:pt x="4235979" y="2302594"/>
                </a:moveTo>
                <a:lnTo>
                  <a:pt x="4253065" y="2304217"/>
                </a:lnTo>
                <a:cubicBezTo>
                  <a:pt x="4285451" y="2304744"/>
                  <a:pt x="4317343" y="2307725"/>
                  <a:pt x="4348528" y="2313282"/>
                </a:cubicBezTo>
                <a:cubicBezTo>
                  <a:pt x="4354104" y="2312863"/>
                  <a:pt x="4359431" y="2313811"/>
                  <a:pt x="4364739" y="2314821"/>
                </a:cubicBezTo>
                <a:lnTo>
                  <a:pt x="4364856" y="2315969"/>
                </a:lnTo>
                <a:cubicBezTo>
                  <a:pt x="4723707" y="2375367"/>
                  <a:pt x="5004746" y="2656144"/>
                  <a:pt x="5055022" y="3009010"/>
                </a:cubicBezTo>
                <a:cubicBezTo>
                  <a:pt x="5055190" y="3009063"/>
                  <a:pt x="5055359" y="3009068"/>
                  <a:pt x="5055528" y="3009073"/>
                </a:cubicBezTo>
                <a:lnTo>
                  <a:pt x="5056068" y="3015763"/>
                </a:lnTo>
                <a:cubicBezTo>
                  <a:pt x="5061125" y="3046007"/>
                  <a:pt x="5063574" y="3076892"/>
                  <a:pt x="5063532" y="3108220"/>
                </a:cubicBezTo>
                <a:cubicBezTo>
                  <a:pt x="5064844" y="3113850"/>
                  <a:pt x="5064903" y="3119519"/>
                  <a:pt x="5064903" y="3125201"/>
                </a:cubicBezTo>
                <a:cubicBezTo>
                  <a:pt x="5064903" y="3129023"/>
                  <a:pt x="5064876" y="3132839"/>
                  <a:pt x="5064310" y="3136641"/>
                </a:cubicBezTo>
                <a:lnTo>
                  <a:pt x="5063811" y="3136608"/>
                </a:lnTo>
                <a:lnTo>
                  <a:pt x="5063785" y="3137103"/>
                </a:lnTo>
                <a:lnTo>
                  <a:pt x="5046666" y="3135477"/>
                </a:lnTo>
                <a:cubicBezTo>
                  <a:pt x="5014292" y="3134950"/>
                  <a:pt x="4982412" y="3131969"/>
                  <a:pt x="4951241" y="3126415"/>
                </a:cubicBezTo>
                <a:cubicBezTo>
                  <a:pt x="4945663" y="3126834"/>
                  <a:pt x="4940334" y="3125886"/>
                  <a:pt x="4935023" y="3124875"/>
                </a:cubicBezTo>
                <a:lnTo>
                  <a:pt x="4934907" y="3123727"/>
                </a:lnTo>
                <a:cubicBezTo>
                  <a:pt x="4576056" y="3064328"/>
                  <a:pt x="4295017" y="2783551"/>
                  <a:pt x="4244741" y="2430686"/>
                </a:cubicBezTo>
                <a:cubicBezTo>
                  <a:pt x="4244574" y="2430633"/>
                  <a:pt x="4244405" y="2430628"/>
                  <a:pt x="4244236" y="2430623"/>
                </a:cubicBezTo>
                <a:lnTo>
                  <a:pt x="4243697" y="2423947"/>
                </a:lnTo>
                <a:cubicBezTo>
                  <a:pt x="4238639" y="2393697"/>
                  <a:pt x="4236188" y="2362806"/>
                  <a:pt x="4236230" y="2331471"/>
                </a:cubicBezTo>
                <a:cubicBezTo>
                  <a:pt x="4234918" y="2325843"/>
                  <a:pt x="4234860" y="2320176"/>
                  <a:pt x="4234860" y="2314495"/>
                </a:cubicBezTo>
                <a:lnTo>
                  <a:pt x="4235454" y="2303055"/>
                </a:lnTo>
                <a:lnTo>
                  <a:pt x="4235952" y="2303088"/>
                </a:lnTo>
                <a:close/>
                <a:moveTo>
                  <a:pt x="4213227" y="2302594"/>
                </a:moveTo>
                <a:lnTo>
                  <a:pt x="4213253" y="2303088"/>
                </a:lnTo>
                <a:lnTo>
                  <a:pt x="4213751" y="2303055"/>
                </a:lnTo>
                <a:lnTo>
                  <a:pt x="4214345" y="2314495"/>
                </a:lnTo>
                <a:cubicBezTo>
                  <a:pt x="4214345" y="2320176"/>
                  <a:pt x="4214286" y="2325843"/>
                  <a:pt x="4212974" y="2331471"/>
                </a:cubicBezTo>
                <a:cubicBezTo>
                  <a:pt x="4213016" y="2362806"/>
                  <a:pt x="4210566" y="2393697"/>
                  <a:pt x="4205507" y="2423947"/>
                </a:cubicBezTo>
                <a:lnTo>
                  <a:pt x="4204969" y="2430623"/>
                </a:lnTo>
                <a:cubicBezTo>
                  <a:pt x="4204799" y="2430628"/>
                  <a:pt x="4204631" y="2430633"/>
                  <a:pt x="4204463" y="2430686"/>
                </a:cubicBezTo>
                <a:cubicBezTo>
                  <a:pt x="4154188" y="2783551"/>
                  <a:pt x="3873149" y="3064328"/>
                  <a:pt x="3514297" y="3123727"/>
                </a:cubicBezTo>
                <a:lnTo>
                  <a:pt x="3514181" y="3124875"/>
                </a:lnTo>
                <a:cubicBezTo>
                  <a:pt x="3508871" y="3125886"/>
                  <a:pt x="3503542" y="3126834"/>
                  <a:pt x="3497965" y="3126415"/>
                </a:cubicBezTo>
                <a:cubicBezTo>
                  <a:pt x="3466793" y="3131969"/>
                  <a:pt x="3434912" y="3134950"/>
                  <a:pt x="3402538" y="3135477"/>
                </a:cubicBezTo>
                <a:lnTo>
                  <a:pt x="3385420" y="3137103"/>
                </a:lnTo>
                <a:lnTo>
                  <a:pt x="3385394" y="3136608"/>
                </a:lnTo>
                <a:lnTo>
                  <a:pt x="3384895" y="3136641"/>
                </a:lnTo>
                <a:cubicBezTo>
                  <a:pt x="3384329" y="3132839"/>
                  <a:pt x="3384302" y="3129023"/>
                  <a:pt x="3384302" y="3125201"/>
                </a:cubicBezTo>
                <a:cubicBezTo>
                  <a:pt x="3384302" y="3119519"/>
                  <a:pt x="3384360" y="3113850"/>
                  <a:pt x="3385672" y="3108220"/>
                </a:cubicBezTo>
                <a:cubicBezTo>
                  <a:pt x="3385630" y="3076892"/>
                  <a:pt x="3388080" y="3046007"/>
                  <a:pt x="3393136" y="3015763"/>
                </a:cubicBezTo>
                <a:lnTo>
                  <a:pt x="3393677" y="3009073"/>
                </a:lnTo>
                <a:cubicBezTo>
                  <a:pt x="3393845" y="3009068"/>
                  <a:pt x="3394015" y="3009063"/>
                  <a:pt x="3394182" y="3009010"/>
                </a:cubicBezTo>
                <a:cubicBezTo>
                  <a:pt x="3444459" y="2656144"/>
                  <a:pt x="3725498" y="2375367"/>
                  <a:pt x="4084348" y="2315969"/>
                </a:cubicBezTo>
                <a:lnTo>
                  <a:pt x="4084465" y="2314821"/>
                </a:lnTo>
                <a:cubicBezTo>
                  <a:pt x="4089774" y="2313811"/>
                  <a:pt x="4095102" y="2312863"/>
                  <a:pt x="4100678" y="2313282"/>
                </a:cubicBezTo>
                <a:cubicBezTo>
                  <a:pt x="4131861" y="2307725"/>
                  <a:pt x="4163754" y="2304744"/>
                  <a:pt x="4196139" y="2304217"/>
                </a:cubicBezTo>
                <a:close/>
                <a:moveTo>
                  <a:pt x="2543827" y="2302594"/>
                </a:moveTo>
                <a:lnTo>
                  <a:pt x="2560914" y="2304217"/>
                </a:lnTo>
                <a:cubicBezTo>
                  <a:pt x="2593300" y="2304744"/>
                  <a:pt x="2625192" y="2307725"/>
                  <a:pt x="2656376" y="2313282"/>
                </a:cubicBezTo>
                <a:cubicBezTo>
                  <a:pt x="2661952" y="2312863"/>
                  <a:pt x="2667280" y="2313811"/>
                  <a:pt x="2672588" y="2314821"/>
                </a:cubicBezTo>
                <a:lnTo>
                  <a:pt x="2672706" y="2315969"/>
                </a:lnTo>
                <a:cubicBezTo>
                  <a:pt x="3031556" y="2375367"/>
                  <a:pt x="3312595" y="2656144"/>
                  <a:pt x="3362871" y="3009010"/>
                </a:cubicBezTo>
                <a:cubicBezTo>
                  <a:pt x="3363039" y="3009063"/>
                  <a:pt x="3363208" y="3009068"/>
                  <a:pt x="3363377" y="3009073"/>
                </a:cubicBezTo>
                <a:lnTo>
                  <a:pt x="3363917" y="3015763"/>
                </a:lnTo>
                <a:cubicBezTo>
                  <a:pt x="3368974" y="3046007"/>
                  <a:pt x="3371423" y="3076892"/>
                  <a:pt x="3371381" y="3108220"/>
                </a:cubicBezTo>
                <a:cubicBezTo>
                  <a:pt x="3372693" y="3113850"/>
                  <a:pt x="3372752" y="3119519"/>
                  <a:pt x="3372752" y="3125201"/>
                </a:cubicBezTo>
                <a:cubicBezTo>
                  <a:pt x="3372752" y="3129023"/>
                  <a:pt x="3372725" y="3132839"/>
                  <a:pt x="3372159" y="3136641"/>
                </a:cubicBezTo>
                <a:lnTo>
                  <a:pt x="3371660" y="3136608"/>
                </a:lnTo>
                <a:lnTo>
                  <a:pt x="3371634" y="3137103"/>
                </a:lnTo>
                <a:lnTo>
                  <a:pt x="3354515" y="3135477"/>
                </a:lnTo>
                <a:cubicBezTo>
                  <a:pt x="3322141" y="3134950"/>
                  <a:pt x="3290261" y="3131969"/>
                  <a:pt x="3259089" y="3126415"/>
                </a:cubicBezTo>
                <a:cubicBezTo>
                  <a:pt x="3253512" y="3126834"/>
                  <a:pt x="3248183" y="3125886"/>
                  <a:pt x="3242872" y="3124875"/>
                </a:cubicBezTo>
                <a:lnTo>
                  <a:pt x="3242756" y="3123727"/>
                </a:lnTo>
                <a:cubicBezTo>
                  <a:pt x="2883905" y="3064328"/>
                  <a:pt x="2602866" y="2783551"/>
                  <a:pt x="2552590" y="2430686"/>
                </a:cubicBezTo>
                <a:cubicBezTo>
                  <a:pt x="2552423" y="2430633"/>
                  <a:pt x="2552254" y="2430628"/>
                  <a:pt x="2552085" y="2430623"/>
                </a:cubicBezTo>
                <a:lnTo>
                  <a:pt x="2551547" y="2423947"/>
                </a:lnTo>
                <a:cubicBezTo>
                  <a:pt x="2546488" y="2393697"/>
                  <a:pt x="2544037" y="2362806"/>
                  <a:pt x="2544079" y="2331471"/>
                </a:cubicBezTo>
                <a:cubicBezTo>
                  <a:pt x="2542767" y="2325843"/>
                  <a:pt x="2542709" y="2320176"/>
                  <a:pt x="2542709" y="2314495"/>
                </a:cubicBezTo>
                <a:lnTo>
                  <a:pt x="2543303" y="2303055"/>
                </a:lnTo>
                <a:lnTo>
                  <a:pt x="2543801" y="2303088"/>
                </a:lnTo>
                <a:close/>
                <a:moveTo>
                  <a:pt x="2521076" y="2302594"/>
                </a:moveTo>
                <a:lnTo>
                  <a:pt x="2521102" y="2303088"/>
                </a:lnTo>
                <a:lnTo>
                  <a:pt x="2521600" y="2303055"/>
                </a:lnTo>
                <a:lnTo>
                  <a:pt x="2522194" y="2314495"/>
                </a:lnTo>
                <a:cubicBezTo>
                  <a:pt x="2522194" y="2320176"/>
                  <a:pt x="2522135" y="2325843"/>
                  <a:pt x="2520823" y="2331471"/>
                </a:cubicBezTo>
                <a:cubicBezTo>
                  <a:pt x="2520865" y="2362806"/>
                  <a:pt x="2518415" y="2393697"/>
                  <a:pt x="2513356" y="2423947"/>
                </a:cubicBezTo>
                <a:lnTo>
                  <a:pt x="2512818" y="2430623"/>
                </a:lnTo>
                <a:cubicBezTo>
                  <a:pt x="2512648" y="2430628"/>
                  <a:pt x="2512480" y="2430633"/>
                  <a:pt x="2512312" y="2430686"/>
                </a:cubicBezTo>
                <a:cubicBezTo>
                  <a:pt x="2462037" y="2783551"/>
                  <a:pt x="2180998" y="3064328"/>
                  <a:pt x="1822147" y="3123727"/>
                </a:cubicBezTo>
                <a:lnTo>
                  <a:pt x="1822030" y="3124875"/>
                </a:lnTo>
                <a:cubicBezTo>
                  <a:pt x="1816720" y="3125886"/>
                  <a:pt x="1811391" y="3126834"/>
                  <a:pt x="1805814" y="3126415"/>
                </a:cubicBezTo>
                <a:cubicBezTo>
                  <a:pt x="1774642" y="3131969"/>
                  <a:pt x="1742762" y="3134950"/>
                  <a:pt x="1710387" y="3135477"/>
                </a:cubicBezTo>
                <a:lnTo>
                  <a:pt x="1693269" y="3137103"/>
                </a:lnTo>
                <a:lnTo>
                  <a:pt x="1693243" y="3136608"/>
                </a:lnTo>
                <a:lnTo>
                  <a:pt x="1692744" y="3136641"/>
                </a:lnTo>
                <a:cubicBezTo>
                  <a:pt x="1692178" y="3132839"/>
                  <a:pt x="1692151" y="3129023"/>
                  <a:pt x="1692151" y="3125201"/>
                </a:cubicBezTo>
                <a:cubicBezTo>
                  <a:pt x="1692151" y="3119519"/>
                  <a:pt x="1692209" y="3113850"/>
                  <a:pt x="1693521" y="3108220"/>
                </a:cubicBezTo>
                <a:cubicBezTo>
                  <a:pt x="1693479" y="3076892"/>
                  <a:pt x="1695929" y="3046007"/>
                  <a:pt x="1700985" y="3015763"/>
                </a:cubicBezTo>
                <a:lnTo>
                  <a:pt x="1701526" y="3009073"/>
                </a:lnTo>
                <a:cubicBezTo>
                  <a:pt x="1701694" y="3009068"/>
                  <a:pt x="1701864" y="3009063"/>
                  <a:pt x="1702031" y="3009010"/>
                </a:cubicBezTo>
                <a:cubicBezTo>
                  <a:pt x="1752308" y="2656144"/>
                  <a:pt x="2033347" y="2375367"/>
                  <a:pt x="2392197" y="2315969"/>
                </a:cubicBezTo>
                <a:lnTo>
                  <a:pt x="2392314" y="2314821"/>
                </a:lnTo>
                <a:cubicBezTo>
                  <a:pt x="2397623" y="2313811"/>
                  <a:pt x="2402951" y="2312863"/>
                  <a:pt x="2408527" y="2313282"/>
                </a:cubicBezTo>
                <a:cubicBezTo>
                  <a:pt x="2439710" y="2307725"/>
                  <a:pt x="2471603" y="2304744"/>
                  <a:pt x="2503988" y="2304217"/>
                </a:cubicBezTo>
                <a:close/>
                <a:moveTo>
                  <a:pt x="851676" y="2302594"/>
                </a:moveTo>
                <a:lnTo>
                  <a:pt x="868763" y="2304217"/>
                </a:lnTo>
                <a:cubicBezTo>
                  <a:pt x="901149" y="2304744"/>
                  <a:pt x="933041" y="2307725"/>
                  <a:pt x="964225" y="2313282"/>
                </a:cubicBezTo>
                <a:cubicBezTo>
                  <a:pt x="969801" y="2312863"/>
                  <a:pt x="975129" y="2313811"/>
                  <a:pt x="980437" y="2314821"/>
                </a:cubicBezTo>
                <a:lnTo>
                  <a:pt x="980555" y="2315969"/>
                </a:lnTo>
                <a:cubicBezTo>
                  <a:pt x="1339405" y="2375367"/>
                  <a:pt x="1620444" y="2656144"/>
                  <a:pt x="1670720" y="3009010"/>
                </a:cubicBezTo>
                <a:cubicBezTo>
                  <a:pt x="1670888" y="3009063"/>
                  <a:pt x="1671057" y="3009068"/>
                  <a:pt x="1671226" y="3009073"/>
                </a:cubicBezTo>
                <a:lnTo>
                  <a:pt x="1671766" y="3015763"/>
                </a:lnTo>
                <a:cubicBezTo>
                  <a:pt x="1676823" y="3046007"/>
                  <a:pt x="1679272" y="3076892"/>
                  <a:pt x="1679230" y="3108220"/>
                </a:cubicBezTo>
                <a:cubicBezTo>
                  <a:pt x="1680542" y="3113850"/>
                  <a:pt x="1680601" y="3119519"/>
                  <a:pt x="1680601" y="3125201"/>
                </a:cubicBezTo>
                <a:cubicBezTo>
                  <a:pt x="1680601" y="3129023"/>
                  <a:pt x="1680574" y="3132839"/>
                  <a:pt x="1680008" y="3136641"/>
                </a:cubicBezTo>
                <a:lnTo>
                  <a:pt x="1679509" y="3136608"/>
                </a:lnTo>
                <a:lnTo>
                  <a:pt x="1679483" y="3137103"/>
                </a:lnTo>
                <a:lnTo>
                  <a:pt x="1662364" y="3135477"/>
                </a:lnTo>
                <a:cubicBezTo>
                  <a:pt x="1629990" y="3134950"/>
                  <a:pt x="1598110" y="3131969"/>
                  <a:pt x="1566938" y="3126415"/>
                </a:cubicBezTo>
                <a:cubicBezTo>
                  <a:pt x="1561361" y="3126834"/>
                  <a:pt x="1556032" y="3125886"/>
                  <a:pt x="1550721" y="3124875"/>
                </a:cubicBezTo>
                <a:lnTo>
                  <a:pt x="1550605" y="3123727"/>
                </a:lnTo>
                <a:cubicBezTo>
                  <a:pt x="1191754" y="3064328"/>
                  <a:pt x="910715" y="2783551"/>
                  <a:pt x="860439" y="2430686"/>
                </a:cubicBezTo>
                <a:cubicBezTo>
                  <a:pt x="860272" y="2430633"/>
                  <a:pt x="860103" y="2430628"/>
                  <a:pt x="859934" y="2430623"/>
                </a:cubicBezTo>
                <a:lnTo>
                  <a:pt x="859396" y="2423947"/>
                </a:lnTo>
                <a:cubicBezTo>
                  <a:pt x="854337" y="2393697"/>
                  <a:pt x="851886" y="2362806"/>
                  <a:pt x="851928" y="2331471"/>
                </a:cubicBezTo>
                <a:cubicBezTo>
                  <a:pt x="850616" y="2325843"/>
                  <a:pt x="850558" y="2320176"/>
                  <a:pt x="850558" y="2314495"/>
                </a:cubicBezTo>
                <a:lnTo>
                  <a:pt x="851152" y="2303055"/>
                </a:lnTo>
                <a:lnTo>
                  <a:pt x="851650" y="2303088"/>
                </a:lnTo>
                <a:close/>
                <a:moveTo>
                  <a:pt x="828925" y="2302594"/>
                </a:moveTo>
                <a:lnTo>
                  <a:pt x="828951" y="2303088"/>
                </a:lnTo>
                <a:lnTo>
                  <a:pt x="829449" y="2303055"/>
                </a:lnTo>
                <a:lnTo>
                  <a:pt x="830043" y="2314495"/>
                </a:lnTo>
                <a:cubicBezTo>
                  <a:pt x="830043" y="2320176"/>
                  <a:pt x="829984" y="2325843"/>
                  <a:pt x="828672" y="2331471"/>
                </a:cubicBezTo>
                <a:cubicBezTo>
                  <a:pt x="828714" y="2362806"/>
                  <a:pt x="826264" y="2393697"/>
                  <a:pt x="821205" y="2423947"/>
                </a:cubicBezTo>
                <a:lnTo>
                  <a:pt x="820667" y="2430623"/>
                </a:lnTo>
                <a:cubicBezTo>
                  <a:pt x="820497" y="2430628"/>
                  <a:pt x="820329" y="2430633"/>
                  <a:pt x="820161" y="2430686"/>
                </a:cubicBezTo>
                <a:cubicBezTo>
                  <a:pt x="769886" y="2783551"/>
                  <a:pt x="488847" y="3064328"/>
                  <a:pt x="129995" y="3123727"/>
                </a:cubicBezTo>
                <a:lnTo>
                  <a:pt x="129879" y="3124875"/>
                </a:lnTo>
                <a:cubicBezTo>
                  <a:pt x="124569" y="3125886"/>
                  <a:pt x="119240" y="3126834"/>
                  <a:pt x="113663" y="3126415"/>
                </a:cubicBezTo>
                <a:cubicBezTo>
                  <a:pt x="82491" y="3131969"/>
                  <a:pt x="50611" y="3134950"/>
                  <a:pt x="18236" y="3135477"/>
                </a:cubicBezTo>
                <a:lnTo>
                  <a:pt x="1118" y="3137103"/>
                </a:lnTo>
                <a:lnTo>
                  <a:pt x="1092" y="3136608"/>
                </a:lnTo>
                <a:lnTo>
                  <a:pt x="593" y="3136641"/>
                </a:lnTo>
                <a:cubicBezTo>
                  <a:pt x="27" y="3132839"/>
                  <a:pt x="0" y="3129023"/>
                  <a:pt x="0" y="3125201"/>
                </a:cubicBezTo>
                <a:cubicBezTo>
                  <a:pt x="0" y="3119519"/>
                  <a:pt x="58" y="3113850"/>
                  <a:pt x="1370" y="3108220"/>
                </a:cubicBezTo>
                <a:cubicBezTo>
                  <a:pt x="1328" y="3076892"/>
                  <a:pt x="3778" y="3046007"/>
                  <a:pt x="8835" y="3015763"/>
                </a:cubicBezTo>
                <a:lnTo>
                  <a:pt x="9375" y="3009073"/>
                </a:lnTo>
                <a:cubicBezTo>
                  <a:pt x="9543" y="3009068"/>
                  <a:pt x="9713" y="3009063"/>
                  <a:pt x="9880" y="3009010"/>
                </a:cubicBezTo>
                <a:cubicBezTo>
                  <a:pt x="60157" y="2656144"/>
                  <a:pt x="341196" y="2375367"/>
                  <a:pt x="700046" y="2315969"/>
                </a:cubicBezTo>
                <a:lnTo>
                  <a:pt x="700163" y="2314821"/>
                </a:lnTo>
                <a:cubicBezTo>
                  <a:pt x="705472" y="2313811"/>
                  <a:pt x="710800" y="2312863"/>
                  <a:pt x="716376" y="2313282"/>
                </a:cubicBezTo>
                <a:cubicBezTo>
                  <a:pt x="747559" y="2307725"/>
                  <a:pt x="779452" y="2304744"/>
                  <a:pt x="811837" y="2304217"/>
                </a:cubicBezTo>
                <a:close/>
                <a:moveTo>
                  <a:pt x="8305836" y="1608087"/>
                </a:moveTo>
                <a:cubicBezTo>
                  <a:pt x="8030646" y="1666766"/>
                  <a:pt x="7815802" y="1879876"/>
                  <a:pt x="7762527" y="2148655"/>
                </a:cubicBezTo>
                <a:cubicBezTo>
                  <a:pt x="8037717" y="2089976"/>
                  <a:pt x="8252560" y="1876866"/>
                  <a:pt x="8305836" y="1608087"/>
                </a:cubicBezTo>
                <a:close/>
                <a:moveTo>
                  <a:pt x="6911971" y="1608087"/>
                </a:moveTo>
                <a:cubicBezTo>
                  <a:pt x="6965247" y="1876866"/>
                  <a:pt x="7180090" y="2089976"/>
                  <a:pt x="7455280" y="2148655"/>
                </a:cubicBezTo>
                <a:cubicBezTo>
                  <a:pt x="7402005" y="1879876"/>
                  <a:pt x="7187161" y="1666766"/>
                  <a:pt x="6911971" y="1608087"/>
                </a:cubicBezTo>
                <a:close/>
                <a:moveTo>
                  <a:pt x="6613685" y="1608087"/>
                </a:moveTo>
                <a:cubicBezTo>
                  <a:pt x="6338495" y="1666766"/>
                  <a:pt x="6123651" y="1879876"/>
                  <a:pt x="6070376" y="2148655"/>
                </a:cubicBezTo>
                <a:cubicBezTo>
                  <a:pt x="6345566" y="2089976"/>
                  <a:pt x="6560409" y="1876866"/>
                  <a:pt x="6613685" y="1608087"/>
                </a:cubicBezTo>
                <a:close/>
                <a:moveTo>
                  <a:pt x="5219820" y="1608087"/>
                </a:moveTo>
                <a:cubicBezTo>
                  <a:pt x="5273096" y="1876866"/>
                  <a:pt x="5487939" y="2089976"/>
                  <a:pt x="5763129" y="2148655"/>
                </a:cubicBezTo>
                <a:cubicBezTo>
                  <a:pt x="5709854" y="1879876"/>
                  <a:pt x="5495010" y="1666766"/>
                  <a:pt x="5219820" y="1608087"/>
                </a:cubicBezTo>
                <a:close/>
                <a:moveTo>
                  <a:pt x="4921534" y="1608087"/>
                </a:moveTo>
                <a:cubicBezTo>
                  <a:pt x="4646344" y="1666766"/>
                  <a:pt x="4431500" y="1879876"/>
                  <a:pt x="4378225" y="2148655"/>
                </a:cubicBezTo>
                <a:cubicBezTo>
                  <a:pt x="4653415" y="2089976"/>
                  <a:pt x="4868259" y="1876866"/>
                  <a:pt x="4921534" y="1608087"/>
                </a:cubicBezTo>
                <a:close/>
                <a:moveTo>
                  <a:pt x="3527669" y="1608087"/>
                </a:moveTo>
                <a:cubicBezTo>
                  <a:pt x="3580945" y="1876866"/>
                  <a:pt x="3795788" y="2089976"/>
                  <a:pt x="4070978" y="2148655"/>
                </a:cubicBezTo>
                <a:cubicBezTo>
                  <a:pt x="4017703" y="1879876"/>
                  <a:pt x="3802859" y="1666766"/>
                  <a:pt x="3527669" y="1608087"/>
                </a:cubicBezTo>
                <a:close/>
                <a:moveTo>
                  <a:pt x="3229383" y="1608087"/>
                </a:moveTo>
                <a:cubicBezTo>
                  <a:pt x="2954193" y="1666766"/>
                  <a:pt x="2739349" y="1879876"/>
                  <a:pt x="2686074" y="2148655"/>
                </a:cubicBezTo>
                <a:cubicBezTo>
                  <a:pt x="2961264" y="2089976"/>
                  <a:pt x="3176107" y="1876866"/>
                  <a:pt x="3229383" y="1608087"/>
                </a:cubicBezTo>
                <a:close/>
                <a:moveTo>
                  <a:pt x="1835518" y="1608087"/>
                </a:moveTo>
                <a:cubicBezTo>
                  <a:pt x="1888794" y="1876866"/>
                  <a:pt x="2103637" y="2089976"/>
                  <a:pt x="2378827" y="2148655"/>
                </a:cubicBezTo>
                <a:cubicBezTo>
                  <a:pt x="2325552" y="1879876"/>
                  <a:pt x="2110708" y="1666766"/>
                  <a:pt x="1835518" y="1608087"/>
                </a:cubicBezTo>
                <a:close/>
                <a:moveTo>
                  <a:pt x="1537232" y="1608087"/>
                </a:moveTo>
                <a:cubicBezTo>
                  <a:pt x="1262042" y="1666766"/>
                  <a:pt x="1047198" y="1879876"/>
                  <a:pt x="993923" y="2148655"/>
                </a:cubicBezTo>
                <a:cubicBezTo>
                  <a:pt x="1269113" y="2089976"/>
                  <a:pt x="1483956" y="1876866"/>
                  <a:pt x="1537232" y="1608087"/>
                </a:cubicBezTo>
                <a:close/>
                <a:moveTo>
                  <a:pt x="143367" y="1608087"/>
                </a:moveTo>
                <a:cubicBezTo>
                  <a:pt x="196643" y="1876866"/>
                  <a:pt x="411486" y="2089976"/>
                  <a:pt x="686676" y="2148655"/>
                </a:cubicBezTo>
                <a:cubicBezTo>
                  <a:pt x="633401" y="1879876"/>
                  <a:pt x="418557" y="1666766"/>
                  <a:pt x="143367" y="1608087"/>
                </a:cubicBezTo>
                <a:close/>
                <a:moveTo>
                  <a:pt x="8461873" y="1464394"/>
                </a:moveTo>
                <a:lnTo>
                  <a:pt x="8478960" y="1466004"/>
                </a:lnTo>
                <a:cubicBezTo>
                  <a:pt x="8511346" y="1466527"/>
                  <a:pt x="8543239" y="1469485"/>
                  <a:pt x="8574422" y="1474998"/>
                </a:cubicBezTo>
                <a:cubicBezTo>
                  <a:pt x="8579998" y="1474582"/>
                  <a:pt x="8585326" y="1475523"/>
                  <a:pt x="8590635" y="1476525"/>
                </a:cubicBezTo>
                <a:lnTo>
                  <a:pt x="8590752" y="1477664"/>
                </a:lnTo>
                <a:cubicBezTo>
                  <a:pt x="8815033" y="1514497"/>
                  <a:pt x="9008920" y="1637126"/>
                  <a:pt x="9135069" y="1809390"/>
                </a:cubicBezTo>
                <a:lnTo>
                  <a:pt x="9139239" y="1816149"/>
                </a:lnTo>
                <a:lnTo>
                  <a:pt x="9139239" y="2119309"/>
                </a:lnTo>
                <a:lnTo>
                  <a:pt x="9120077" y="2050665"/>
                </a:lnTo>
                <a:cubicBezTo>
                  <a:pt x="9039502" y="1829012"/>
                  <a:pt x="8844913" y="1659431"/>
                  <a:pt x="8604122" y="1608087"/>
                </a:cubicBezTo>
                <a:cubicBezTo>
                  <a:pt x="8650738" y="1843269"/>
                  <a:pt x="8821055" y="2035829"/>
                  <a:pt x="9047261" y="2119605"/>
                </a:cubicBezTo>
                <a:lnTo>
                  <a:pt x="9139239" y="2146279"/>
                </a:lnTo>
                <a:lnTo>
                  <a:pt x="9139239" y="2273778"/>
                </a:lnTo>
                <a:lnTo>
                  <a:pt x="9030179" y="2246972"/>
                </a:lnTo>
                <a:cubicBezTo>
                  <a:pt x="8735297" y="2149386"/>
                  <a:pt x="8514628" y="1897812"/>
                  <a:pt x="8470637" y="1591480"/>
                </a:cubicBezTo>
                <a:cubicBezTo>
                  <a:pt x="8470469" y="1591427"/>
                  <a:pt x="8470301" y="1591423"/>
                  <a:pt x="8470131" y="1591418"/>
                </a:cubicBezTo>
                <a:lnTo>
                  <a:pt x="8469593" y="1584794"/>
                </a:lnTo>
                <a:cubicBezTo>
                  <a:pt x="8464534" y="1554782"/>
                  <a:pt x="8462083" y="1524133"/>
                  <a:pt x="8462126" y="1493044"/>
                </a:cubicBezTo>
                <a:cubicBezTo>
                  <a:pt x="8460814" y="1487460"/>
                  <a:pt x="8460755" y="1481838"/>
                  <a:pt x="8460755" y="1476202"/>
                </a:cubicBezTo>
                <a:lnTo>
                  <a:pt x="8461349" y="1464852"/>
                </a:lnTo>
                <a:lnTo>
                  <a:pt x="8461847" y="1464884"/>
                </a:lnTo>
                <a:close/>
                <a:moveTo>
                  <a:pt x="8448085" y="1464394"/>
                </a:moveTo>
                <a:lnTo>
                  <a:pt x="8448111" y="1464884"/>
                </a:lnTo>
                <a:lnTo>
                  <a:pt x="8448609" y="1464852"/>
                </a:lnTo>
                <a:lnTo>
                  <a:pt x="8449203" y="1476202"/>
                </a:lnTo>
                <a:cubicBezTo>
                  <a:pt x="8449203" y="1481838"/>
                  <a:pt x="8449144" y="1487460"/>
                  <a:pt x="8447832" y="1493044"/>
                </a:cubicBezTo>
                <a:cubicBezTo>
                  <a:pt x="8447875" y="1524133"/>
                  <a:pt x="8445424" y="1554782"/>
                  <a:pt x="8440365" y="1584794"/>
                </a:cubicBezTo>
                <a:lnTo>
                  <a:pt x="8439827" y="1591418"/>
                </a:lnTo>
                <a:cubicBezTo>
                  <a:pt x="8439657" y="1591423"/>
                  <a:pt x="8439489" y="1591427"/>
                  <a:pt x="8439321" y="1591480"/>
                </a:cubicBezTo>
                <a:cubicBezTo>
                  <a:pt x="8389046" y="1941574"/>
                  <a:pt x="8108007" y="2220146"/>
                  <a:pt x="7749156" y="2279078"/>
                </a:cubicBezTo>
                <a:lnTo>
                  <a:pt x="7749040" y="2280217"/>
                </a:lnTo>
                <a:cubicBezTo>
                  <a:pt x="7743729" y="2281220"/>
                  <a:pt x="7738400" y="2282161"/>
                  <a:pt x="7732823" y="2281745"/>
                </a:cubicBezTo>
                <a:cubicBezTo>
                  <a:pt x="7701651" y="2287255"/>
                  <a:pt x="7669771" y="2290213"/>
                  <a:pt x="7637396" y="2290736"/>
                </a:cubicBezTo>
                <a:lnTo>
                  <a:pt x="7620278" y="2292349"/>
                </a:lnTo>
                <a:lnTo>
                  <a:pt x="7620252" y="2291858"/>
                </a:lnTo>
                <a:lnTo>
                  <a:pt x="7619753" y="2291891"/>
                </a:lnTo>
                <a:cubicBezTo>
                  <a:pt x="7619187" y="2288119"/>
                  <a:pt x="7619160" y="2284333"/>
                  <a:pt x="7619160" y="2280541"/>
                </a:cubicBezTo>
                <a:cubicBezTo>
                  <a:pt x="7619160" y="2274903"/>
                  <a:pt x="7619219" y="2269279"/>
                  <a:pt x="7620531" y="2263693"/>
                </a:cubicBezTo>
                <a:cubicBezTo>
                  <a:pt x="7620488" y="2232611"/>
                  <a:pt x="7622938" y="2201969"/>
                  <a:pt x="7627995" y="2171962"/>
                </a:cubicBezTo>
                <a:lnTo>
                  <a:pt x="7628535" y="2165325"/>
                </a:lnTo>
                <a:cubicBezTo>
                  <a:pt x="7628704" y="2165320"/>
                  <a:pt x="7628873" y="2165315"/>
                  <a:pt x="7629040" y="2165262"/>
                </a:cubicBezTo>
                <a:cubicBezTo>
                  <a:pt x="7679317" y="1815167"/>
                  <a:pt x="7960356" y="1536596"/>
                  <a:pt x="8319206" y="1477664"/>
                </a:cubicBezTo>
                <a:lnTo>
                  <a:pt x="8319323" y="1476525"/>
                </a:lnTo>
                <a:cubicBezTo>
                  <a:pt x="8324632" y="1475523"/>
                  <a:pt x="8329960" y="1474582"/>
                  <a:pt x="8335536" y="1474998"/>
                </a:cubicBezTo>
                <a:cubicBezTo>
                  <a:pt x="8366719" y="1469485"/>
                  <a:pt x="8398612" y="1466527"/>
                  <a:pt x="8430998" y="1466004"/>
                </a:cubicBezTo>
                <a:close/>
                <a:moveTo>
                  <a:pt x="6769722" y="1464394"/>
                </a:moveTo>
                <a:lnTo>
                  <a:pt x="6786810" y="1466004"/>
                </a:lnTo>
                <a:cubicBezTo>
                  <a:pt x="6819195" y="1466527"/>
                  <a:pt x="6851088" y="1469485"/>
                  <a:pt x="6882271" y="1474998"/>
                </a:cubicBezTo>
                <a:cubicBezTo>
                  <a:pt x="6887847" y="1474582"/>
                  <a:pt x="6893175" y="1475523"/>
                  <a:pt x="6898484" y="1476525"/>
                </a:cubicBezTo>
                <a:lnTo>
                  <a:pt x="6898601" y="1477664"/>
                </a:lnTo>
                <a:cubicBezTo>
                  <a:pt x="7257451" y="1536596"/>
                  <a:pt x="7538490" y="1815167"/>
                  <a:pt x="7588766" y="2165262"/>
                </a:cubicBezTo>
                <a:cubicBezTo>
                  <a:pt x="7588934" y="2165315"/>
                  <a:pt x="7589103" y="2165320"/>
                  <a:pt x="7589272" y="2165325"/>
                </a:cubicBezTo>
                <a:lnTo>
                  <a:pt x="7589812" y="2171962"/>
                </a:lnTo>
                <a:cubicBezTo>
                  <a:pt x="7594869" y="2201969"/>
                  <a:pt x="7597319" y="2232611"/>
                  <a:pt x="7597276" y="2263693"/>
                </a:cubicBezTo>
                <a:cubicBezTo>
                  <a:pt x="7598588" y="2269279"/>
                  <a:pt x="7598647" y="2274903"/>
                  <a:pt x="7598647" y="2280541"/>
                </a:cubicBezTo>
                <a:cubicBezTo>
                  <a:pt x="7598647" y="2284333"/>
                  <a:pt x="7598620" y="2288119"/>
                  <a:pt x="7598054" y="2291891"/>
                </a:cubicBezTo>
                <a:lnTo>
                  <a:pt x="7597555" y="2291858"/>
                </a:lnTo>
                <a:lnTo>
                  <a:pt x="7597529" y="2292349"/>
                </a:lnTo>
                <a:lnTo>
                  <a:pt x="7580411" y="2290736"/>
                </a:lnTo>
                <a:cubicBezTo>
                  <a:pt x="7548036" y="2290213"/>
                  <a:pt x="7516156" y="2287255"/>
                  <a:pt x="7484984" y="2281745"/>
                </a:cubicBezTo>
                <a:cubicBezTo>
                  <a:pt x="7479407" y="2282161"/>
                  <a:pt x="7474078" y="2281220"/>
                  <a:pt x="7468767" y="2280217"/>
                </a:cubicBezTo>
                <a:lnTo>
                  <a:pt x="7468651" y="2279078"/>
                </a:lnTo>
                <a:cubicBezTo>
                  <a:pt x="7109800" y="2220146"/>
                  <a:pt x="6828761" y="1941574"/>
                  <a:pt x="6778486" y="1591480"/>
                </a:cubicBezTo>
                <a:cubicBezTo>
                  <a:pt x="6778318" y="1591427"/>
                  <a:pt x="6778150" y="1591423"/>
                  <a:pt x="6777980" y="1591418"/>
                </a:cubicBezTo>
                <a:lnTo>
                  <a:pt x="6777442" y="1584794"/>
                </a:lnTo>
                <a:cubicBezTo>
                  <a:pt x="6772383" y="1554782"/>
                  <a:pt x="6769933" y="1524133"/>
                  <a:pt x="6769975" y="1493044"/>
                </a:cubicBezTo>
                <a:cubicBezTo>
                  <a:pt x="6768663" y="1487460"/>
                  <a:pt x="6768604" y="1481838"/>
                  <a:pt x="6768604" y="1476202"/>
                </a:cubicBezTo>
                <a:lnTo>
                  <a:pt x="6769198" y="1464852"/>
                </a:lnTo>
                <a:lnTo>
                  <a:pt x="6769696" y="1464884"/>
                </a:lnTo>
                <a:close/>
                <a:moveTo>
                  <a:pt x="6755934" y="1464394"/>
                </a:moveTo>
                <a:lnTo>
                  <a:pt x="6755960" y="1464884"/>
                </a:lnTo>
                <a:lnTo>
                  <a:pt x="6756458" y="1464852"/>
                </a:lnTo>
                <a:lnTo>
                  <a:pt x="6757052" y="1476202"/>
                </a:lnTo>
                <a:cubicBezTo>
                  <a:pt x="6757052" y="1481838"/>
                  <a:pt x="6756994" y="1487460"/>
                  <a:pt x="6755682" y="1493044"/>
                </a:cubicBezTo>
                <a:cubicBezTo>
                  <a:pt x="6755724" y="1524133"/>
                  <a:pt x="6753273" y="1554782"/>
                  <a:pt x="6748215" y="1584794"/>
                </a:cubicBezTo>
                <a:lnTo>
                  <a:pt x="6747676" y="1591418"/>
                </a:lnTo>
                <a:cubicBezTo>
                  <a:pt x="6747507" y="1591423"/>
                  <a:pt x="6747338" y="1591427"/>
                  <a:pt x="6747171" y="1591480"/>
                </a:cubicBezTo>
                <a:cubicBezTo>
                  <a:pt x="6696895" y="1941574"/>
                  <a:pt x="6415856" y="2220146"/>
                  <a:pt x="6057005" y="2279078"/>
                </a:cubicBezTo>
                <a:lnTo>
                  <a:pt x="6056889" y="2280217"/>
                </a:lnTo>
                <a:cubicBezTo>
                  <a:pt x="6051578" y="2281220"/>
                  <a:pt x="6046249" y="2282161"/>
                  <a:pt x="6040672" y="2281745"/>
                </a:cubicBezTo>
                <a:cubicBezTo>
                  <a:pt x="6009500" y="2287255"/>
                  <a:pt x="5977620" y="2290213"/>
                  <a:pt x="5945246" y="2290736"/>
                </a:cubicBezTo>
                <a:lnTo>
                  <a:pt x="5928127" y="2292349"/>
                </a:lnTo>
                <a:lnTo>
                  <a:pt x="5928101" y="2291858"/>
                </a:lnTo>
                <a:lnTo>
                  <a:pt x="5927602" y="2291891"/>
                </a:lnTo>
                <a:cubicBezTo>
                  <a:pt x="5927036" y="2288119"/>
                  <a:pt x="5927009" y="2284333"/>
                  <a:pt x="5927009" y="2280541"/>
                </a:cubicBezTo>
                <a:cubicBezTo>
                  <a:pt x="5927009" y="2274903"/>
                  <a:pt x="5927068" y="2269279"/>
                  <a:pt x="5928380" y="2263693"/>
                </a:cubicBezTo>
                <a:cubicBezTo>
                  <a:pt x="5928338" y="2232611"/>
                  <a:pt x="5930787" y="2201969"/>
                  <a:pt x="5935844" y="2171962"/>
                </a:cubicBezTo>
                <a:lnTo>
                  <a:pt x="5936384" y="2165325"/>
                </a:lnTo>
                <a:cubicBezTo>
                  <a:pt x="5936553" y="2165320"/>
                  <a:pt x="5936722" y="2165315"/>
                  <a:pt x="5936890" y="2165262"/>
                </a:cubicBezTo>
                <a:cubicBezTo>
                  <a:pt x="5987166" y="1815167"/>
                  <a:pt x="6268205" y="1536596"/>
                  <a:pt x="6627056" y="1477664"/>
                </a:cubicBezTo>
                <a:lnTo>
                  <a:pt x="6627173" y="1476525"/>
                </a:lnTo>
                <a:cubicBezTo>
                  <a:pt x="6632481" y="1475523"/>
                  <a:pt x="6637809" y="1474582"/>
                  <a:pt x="6643385" y="1474998"/>
                </a:cubicBezTo>
                <a:cubicBezTo>
                  <a:pt x="6674569" y="1469485"/>
                  <a:pt x="6706461" y="1466527"/>
                  <a:pt x="6738847" y="1466004"/>
                </a:cubicBezTo>
                <a:close/>
                <a:moveTo>
                  <a:pt x="5077571" y="1464394"/>
                </a:moveTo>
                <a:lnTo>
                  <a:pt x="5094659" y="1466004"/>
                </a:lnTo>
                <a:cubicBezTo>
                  <a:pt x="5127044" y="1466527"/>
                  <a:pt x="5158937" y="1469485"/>
                  <a:pt x="5190120" y="1474998"/>
                </a:cubicBezTo>
                <a:cubicBezTo>
                  <a:pt x="5195696" y="1474582"/>
                  <a:pt x="5201024" y="1475523"/>
                  <a:pt x="5206334" y="1476525"/>
                </a:cubicBezTo>
                <a:lnTo>
                  <a:pt x="5206450" y="1477664"/>
                </a:lnTo>
                <a:cubicBezTo>
                  <a:pt x="5565300" y="1536596"/>
                  <a:pt x="5846339" y="1815167"/>
                  <a:pt x="5896616" y="2165262"/>
                </a:cubicBezTo>
                <a:cubicBezTo>
                  <a:pt x="5896783" y="2165315"/>
                  <a:pt x="5896953" y="2165320"/>
                  <a:pt x="5897121" y="2165325"/>
                </a:cubicBezTo>
                <a:lnTo>
                  <a:pt x="5897662" y="2171962"/>
                </a:lnTo>
                <a:cubicBezTo>
                  <a:pt x="5902718" y="2201969"/>
                  <a:pt x="5905168" y="2232611"/>
                  <a:pt x="5905126" y="2263693"/>
                </a:cubicBezTo>
                <a:cubicBezTo>
                  <a:pt x="5906438" y="2269279"/>
                  <a:pt x="5906496" y="2274903"/>
                  <a:pt x="5906496" y="2280541"/>
                </a:cubicBezTo>
                <a:cubicBezTo>
                  <a:pt x="5906496" y="2284333"/>
                  <a:pt x="5906469" y="2288119"/>
                  <a:pt x="5905903" y="2291891"/>
                </a:cubicBezTo>
                <a:lnTo>
                  <a:pt x="5905404" y="2291858"/>
                </a:lnTo>
                <a:lnTo>
                  <a:pt x="5905378" y="2292349"/>
                </a:lnTo>
                <a:lnTo>
                  <a:pt x="5888260" y="2290736"/>
                </a:lnTo>
                <a:cubicBezTo>
                  <a:pt x="5855886" y="2290213"/>
                  <a:pt x="5824005" y="2287255"/>
                  <a:pt x="5792833" y="2281745"/>
                </a:cubicBezTo>
                <a:cubicBezTo>
                  <a:pt x="5787256" y="2282161"/>
                  <a:pt x="5781927" y="2281220"/>
                  <a:pt x="5776617" y="2280217"/>
                </a:cubicBezTo>
                <a:lnTo>
                  <a:pt x="5776501" y="2279078"/>
                </a:lnTo>
                <a:cubicBezTo>
                  <a:pt x="5417649" y="2220146"/>
                  <a:pt x="5136610" y="1941574"/>
                  <a:pt x="5086335" y="1591480"/>
                </a:cubicBezTo>
                <a:cubicBezTo>
                  <a:pt x="5086167" y="1591427"/>
                  <a:pt x="5085999" y="1591423"/>
                  <a:pt x="5085830" y="1591418"/>
                </a:cubicBezTo>
                <a:lnTo>
                  <a:pt x="5085291" y="1584794"/>
                </a:lnTo>
                <a:cubicBezTo>
                  <a:pt x="5080233" y="1554782"/>
                  <a:pt x="5077782" y="1524133"/>
                  <a:pt x="5077824" y="1493044"/>
                </a:cubicBezTo>
                <a:cubicBezTo>
                  <a:pt x="5076512" y="1487460"/>
                  <a:pt x="5076453" y="1481838"/>
                  <a:pt x="5076453" y="1476202"/>
                </a:cubicBezTo>
                <a:lnTo>
                  <a:pt x="5077047" y="1464852"/>
                </a:lnTo>
                <a:lnTo>
                  <a:pt x="5077545" y="1464884"/>
                </a:lnTo>
                <a:close/>
                <a:moveTo>
                  <a:pt x="5063783" y="1464394"/>
                </a:moveTo>
                <a:lnTo>
                  <a:pt x="5063809" y="1464884"/>
                </a:lnTo>
                <a:lnTo>
                  <a:pt x="5064307" y="1464852"/>
                </a:lnTo>
                <a:lnTo>
                  <a:pt x="5064902" y="1476202"/>
                </a:lnTo>
                <a:cubicBezTo>
                  <a:pt x="5064902" y="1481838"/>
                  <a:pt x="5064842" y="1487460"/>
                  <a:pt x="5063530" y="1493044"/>
                </a:cubicBezTo>
                <a:cubicBezTo>
                  <a:pt x="5063572" y="1524133"/>
                  <a:pt x="5061122" y="1554782"/>
                  <a:pt x="5056063" y="1584794"/>
                </a:cubicBezTo>
                <a:lnTo>
                  <a:pt x="5055525" y="1591418"/>
                </a:lnTo>
                <a:cubicBezTo>
                  <a:pt x="5055355" y="1591423"/>
                  <a:pt x="5055187" y="1591427"/>
                  <a:pt x="5055019" y="1591480"/>
                </a:cubicBezTo>
                <a:cubicBezTo>
                  <a:pt x="5004744" y="1941574"/>
                  <a:pt x="4723705" y="2220146"/>
                  <a:pt x="4364853" y="2279078"/>
                </a:cubicBezTo>
                <a:lnTo>
                  <a:pt x="4364737" y="2280217"/>
                </a:lnTo>
                <a:cubicBezTo>
                  <a:pt x="4359427" y="2281220"/>
                  <a:pt x="4354098" y="2282161"/>
                  <a:pt x="4348521" y="2281745"/>
                </a:cubicBezTo>
                <a:cubicBezTo>
                  <a:pt x="4317350" y="2287255"/>
                  <a:pt x="4285468" y="2290213"/>
                  <a:pt x="4253094" y="2290736"/>
                </a:cubicBezTo>
                <a:lnTo>
                  <a:pt x="4235976" y="2292349"/>
                </a:lnTo>
                <a:lnTo>
                  <a:pt x="4235950" y="2291858"/>
                </a:lnTo>
                <a:lnTo>
                  <a:pt x="4235451" y="2291891"/>
                </a:lnTo>
                <a:cubicBezTo>
                  <a:pt x="4234885" y="2288119"/>
                  <a:pt x="4234858" y="2284333"/>
                  <a:pt x="4234858" y="2280541"/>
                </a:cubicBezTo>
                <a:cubicBezTo>
                  <a:pt x="4234858" y="2274903"/>
                  <a:pt x="4234916" y="2269279"/>
                  <a:pt x="4236228" y="2263693"/>
                </a:cubicBezTo>
                <a:cubicBezTo>
                  <a:pt x="4236186" y="2232611"/>
                  <a:pt x="4238636" y="2201969"/>
                  <a:pt x="4243692" y="2171962"/>
                </a:cubicBezTo>
                <a:lnTo>
                  <a:pt x="4244233" y="2165325"/>
                </a:lnTo>
                <a:cubicBezTo>
                  <a:pt x="4244401" y="2165320"/>
                  <a:pt x="4244571" y="2165315"/>
                  <a:pt x="4244738" y="2165262"/>
                </a:cubicBezTo>
                <a:cubicBezTo>
                  <a:pt x="4295015" y="1815167"/>
                  <a:pt x="4576054" y="1536596"/>
                  <a:pt x="4934904" y="1477664"/>
                </a:cubicBezTo>
                <a:lnTo>
                  <a:pt x="4935021" y="1476525"/>
                </a:lnTo>
                <a:cubicBezTo>
                  <a:pt x="4940330" y="1475523"/>
                  <a:pt x="4945658" y="1474582"/>
                  <a:pt x="4951234" y="1474998"/>
                </a:cubicBezTo>
                <a:cubicBezTo>
                  <a:pt x="4982417" y="1469485"/>
                  <a:pt x="5014310" y="1466527"/>
                  <a:pt x="5046695" y="1466004"/>
                </a:cubicBezTo>
                <a:close/>
                <a:moveTo>
                  <a:pt x="3385420" y="1464394"/>
                </a:moveTo>
                <a:lnTo>
                  <a:pt x="3402507" y="1466004"/>
                </a:lnTo>
                <a:cubicBezTo>
                  <a:pt x="3434893" y="1466527"/>
                  <a:pt x="3466785" y="1469485"/>
                  <a:pt x="3497969" y="1474998"/>
                </a:cubicBezTo>
                <a:cubicBezTo>
                  <a:pt x="3503545" y="1474582"/>
                  <a:pt x="3508873" y="1475523"/>
                  <a:pt x="3514181" y="1476525"/>
                </a:cubicBezTo>
                <a:lnTo>
                  <a:pt x="3514298" y="1477664"/>
                </a:lnTo>
                <a:cubicBezTo>
                  <a:pt x="3873149" y="1536596"/>
                  <a:pt x="4154188" y="1815167"/>
                  <a:pt x="4204464" y="2165262"/>
                </a:cubicBezTo>
                <a:cubicBezTo>
                  <a:pt x="4204632" y="2165315"/>
                  <a:pt x="4204801" y="2165320"/>
                  <a:pt x="4204970" y="2165325"/>
                </a:cubicBezTo>
                <a:lnTo>
                  <a:pt x="4205510" y="2171962"/>
                </a:lnTo>
                <a:cubicBezTo>
                  <a:pt x="4210567" y="2201969"/>
                  <a:pt x="4213016" y="2232611"/>
                  <a:pt x="4212974" y="2263693"/>
                </a:cubicBezTo>
                <a:cubicBezTo>
                  <a:pt x="4214286" y="2269279"/>
                  <a:pt x="4214345" y="2274903"/>
                  <a:pt x="4214345" y="2280541"/>
                </a:cubicBezTo>
                <a:cubicBezTo>
                  <a:pt x="4214345" y="2284333"/>
                  <a:pt x="4214318" y="2288119"/>
                  <a:pt x="4213752" y="2291891"/>
                </a:cubicBezTo>
                <a:lnTo>
                  <a:pt x="4213253" y="2291858"/>
                </a:lnTo>
                <a:lnTo>
                  <a:pt x="4213227" y="2292349"/>
                </a:lnTo>
                <a:lnTo>
                  <a:pt x="4196108" y="2290736"/>
                </a:lnTo>
                <a:cubicBezTo>
                  <a:pt x="4163734" y="2290213"/>
                  <a:pt x="4131854" y="2287255"/>
                  <a:pt x="4100682" y="2281745"/>
                </a:cubicBezTo>
                <a:cubicBezTo>
                  <a:pt x="4095105" y="2282161"/>
                  <a:pt x="4089776" y="2281220"/>
                  <a:pt x="4084465" y="2280217"/>
                </a:cubicBezTo>
                <a:lnTo>
                  <a:pt x="4084349" y="2279078"/>
                </a:lnTo>
                <a:cubicBezTo>
                  <a:pt x="3725498" y="2220146"/>
                  <a:pt x="3444459" y="1941574"/>
                  <a:pt x="3394183" y="1591480"/>
                </a:cubicBezTo>
                <a:cubicBezTo>
                  <a:pt x="3394016" y="1591427"/>
                  <a:pt x="3393847" y="1591423"/>
                  <a:pt x="3393678" y="1591418"/>
                </a:cubicBezTo>
                <a:lnTo>
                  <a:pt x="3393139" y="1584794"/>
                </a:lnTo>
                <a:cubicBezTo>
                  <a:pt x="3388081" y="1554782"/>
                  <a:pt x="3385630" y="1524133"/>
                  <a:pt x="3385672" y="1493044"/>
                </a:cubicBezTo>
                <a:cubicBezTo>
                  <a:pt x="3384360" y="1487460"/>
                  <a:pt x="3384302" y="1481838"/>
                  <a:pt x="3384302" y="1476202"/>
                </a:cubicBezTo>
                <a:lnTo>
                  <a:pt x="3384896" y="1464852"/>
                </a:lnTo>
                <a:lnTo>
                  <a:pt x="3385394" y="1464884"/>
                </a:lnTo>
                <a:close/>
                <a:moveTo>
                  <a:pt x="3371632" y="1464394"/>
                </a:moveTo>
                <a:lnTo>
                  <a:pt x="3371658" y="1464884"/>
                </a:lnTo>
                <a:lnTo>
                  <a:pt x="3372156" y="1464852"/>
                </a:lnTo>
                <a:lnTo>
                  <a:pt x="3372750" y="1476202"/>
                </a:lnTo>
                <a:cubicBezTo>
                  <a:pt x="3372750" y="1481838"/>
                  <a:pt x="3372691" y="1487460"/>
                  <a:pt x="3371379" y="1493044"/>
                </a:cubicBezTo>
                <a:cubicBezTo>
                  <a:pt x="3371421" y="1524133"/>
                  <a:pt x="3368971" y="1554782"/>
                  <a:pt x="3363912" y="1584794"/>
                </a:cubicBezTo>
                <a:lnTo>
                  <a:pt x="3363374" y="1591418"/>
                </a:lnTo>
                <a:cubicBezTo>
                  <a:pt x="3363204" y="1591423"/>
                  <a:pt x="3363036" y="1591427"/>
                  <a:pt x="3362868" y="1591480"/>
                </a:cubicBezTo>
                <a:cubicBezTo>
                  <a:pt x="3312593" y="1941574"/>
                  <a:pt x="3031554" y="2220146"/>
                  <a:pt x="2672703" y="2279078"/>
                </a:cubicBezTo>
                <a:lnTo>
                  <a:pt x="2672586" y="2280217"/>
                </a:lnTo>
                <a:cubicBezTo>
                  <a:pt x="2667276" y="2281220"/>
                  <a:pt x="2661947" y="2282161"/>
                  <a:pt x="2656370" y="2281745"/>
                </a:cubicBezTo>
                <a:cubicBezTo>
                  <a:pt x="2625198" y="2287255"/>
                  <a:pt x="2593318" y="2290213"/>
                  <a:pt x="2560943" y="2290736"/>
                </a:cubicBezTo>
                <a:lnTo>
                  <a:pt x="2543825" y="2292349"/>
                </a:lnTo>
                <a:lnTo>
                  <a:pt x="2543799" y="2291858"/>
                </a:lnTo>
                <a:lnTo>
                  <a:pt x="2543300" y="2291891"/>
                </a:lnTo>
                <a:cubicBezTo>
                  <a:pt x="2542734" y="2288119"/>
                  <a:pt x="2542707" y="2284333"/>
                  <a:pt x="2542707" y="2280541"/>
                </a:cubicBezTo>
                <a:cubicBezTo>
                  <a:pt x="2542707" y="2274903"/>
                  <a:pt x="2542765" y="2269279"/>
                  <a:pt x="2544077" y="2263693"/>
                </a:cubicBezTo>
                <a:cubicBezTo>
                  <a:pt x="2544035" y="2232611"/>
                  <a:pt x="2546485" y="2201969"/>
                  <a:pt x="2551541" y="2171962"/>
                </a:cubicBezTo>
                <a:lnTo>
                  <a:pt x="2552082" y="2165325"/>
                </a:lnTo>
                <a:cubicBezTo>
                  <a:pt x="2552250" y="2165320"/>
                  <a:pt x="2552420" y="2165315"/>
                  <a:pt x="2552587" y="2165262"/>
                </a:cubicBezTo>
                <a:cubicBezTo>
                  <a:pt x="2602864" y="1815167"/>
                  <a:pt x="2883903" y="1536596"/>
                  <a:pt x="3242753" y="1477664"/>
                </a:cubicBezTo>
                <a:lnTo>
                  <a:pt x="3242870" y="1476525"/>
                </a:lnTo>
                <a:cubicBezTo>
                  <a:pt x="3248179" y="1475523"/>
                  <a:pt x="3253507" y="1474582"/>
                  <a:pt x="3259083" y="1474998"/>
                </a:cubicBezTo>
                <a:cubicBezTo>
                  <a:pt x="3290266" y="1469485"/>
                  <a:pt x="3322159" y="1466527"/>
                  <a:pt x="3354544" y="1466004"/>
                </a:cubicBezTo>
                <a:close/>
                <a:moveTo>
                  <a:pt x="1693269" y="1464394"/>
                </a:moveTo>
                <a:lnTo>
                  <a:pt x="1710356" y="1466004"/>
                </a:lnTo>
                <a:cubicBezTo>
                  <a:pt x="1742742" y="1466527"/>
                  <a:pt x="1774634" y="1469485"/>
                  <a:pt x="1805818" y="1474998"/>
                </a:cubicBezTo>
                <a:cubicBezTo>
                  <a:pt x="1811394" y="1474582"/>
                  <a:pt x="1816722" y="1475523"/>
                  <a:pt x="1822030" y="1476525"/>
                </a:cubicBezTo>
                <a:lnTo>
                  <a:pt x="1822148" y="1477664"/>
                </a:lnTo>
                <a:cubicBezTo>
                  <a:pt x="2180998" y="1536596"/>
                  <a:pt x="2462037" y="1815167"/>
                  <a:pt x="2512313" y="2165262"/>
                </a:cubicBezTo>
                <a:cubicBezTo>
                  <a:pt x="2512481" y="2165315"/>
                  <a:pt x="2512650" y="2165320"/>
                  <a:pt x="2512819" y="2165325"/>
                </a:cubicBezTo>
                <a:lnTo>
                  <a:pt x="2513359" y="2171962"/>
                </a:lnTo>
                <a:cubicBezTo>
                  <a:pt x="2518416" y="2201969"/>
                  <a:pt x="2520865" y="2232611"/>
                  <a:pt x="2520823" y="2263693"/>
                </a:cubicBezTo>
                <a:cubicBezTo>
                  <a:pt x="2522135" y="2269279"/>
                  <a:pt x="2522194" y="2274903"/>
                  <a:pt x="2522194" y="2280541"/>
                </a:cubicBezTo>
                <a:cubicBezTo>
                  <a:pt x="2522194" y="2284333"/>
                  <a:pt x="2522167" y="2288119"/>
                  <a:pt x="2521601" y="2291891"/>
                </a:cubicBezTo>
                <a:lnTo>
                  <a:pt x="2521102" y="2291858"/>
                </a:lnTo>
                <a:lnTo>
                  <a:pt x="2521076" y="2292349"/>
                </a:lnTo>
                <a:lnTo>
                  <a:pt x="2503957" y="2290736"/>
                </a:lnTo>
                <a:cubicBezTo>
                  <a:pt x="2471583" y="2290213"/>
                  <a:pt x="2439703" y="2287255"/>
                  <a:pt x="2408531" y="2281745"/>
                </a:cubicBezTo>
                <a:cubicBezTo>
                  <a:pt x="2402954" y="2282161"/>
                  <a:pt x="2397625" y="2281220"/>
                  <a:pt x="2392314" y="2280217"/>
                </a:cubicBezTo>
                <a:lnTo>
                  <a:pt x="2392198" y="2279078"/>
                </a:lnTo>
                <a:cubicBezTo>
                  <a:pt x="2033347" y="2220146"/>
                  <a:pt x="1752308" y="1941574"/>
                  <a:pt x="1702032" y="1591480"/>
                </a:cubicBezTo>
                <a:cubicBezTo>
                  <a:pt x="1701865" y="1591427"/>
                  <a:pt x="1701696" y="1591423"/>
                  <a:pt x="1701527" y="1591418"/>
                </a:cubicBezTo>
                <a:lnTo>
                  <a:pt x="1700989" y="1584794"/>
                </a:lnTo>
                <a:cubicBezTo>
                  <a:pt x="1695930" y="1554782"/>
                  <a:pt x="1693479" y="1524133"/>
                  <a:pt x="1693521" y="1493044"/>
                </a:cubicBezTo>
                <a:cubicBezTo>
                  <a:pt x="1692209" y="1487460"/>
                  <a:pt x="1692151" y="1481838"/>
                  <a:pt x="1692151" y="1476202"/>
                </a:cubicBezTo>
                <a:lnTo>
                  <a:pt x="1692745" y="1464852"/>
                </a:lnTo>
                <a:lnTo>
                  <a:pt x="1693243" y="1464884"/>
                </a:lnTo>
                <a:close/>
                <a:moveTo>
                  <a:pt x="1679481" y="1464394"/>
                </a:moveTo>
                <a:lnTo>
                  <a:pt x="1679507" y="1464884"/>
                </a:lnTo>
                <a:lnTo>
                  <a:pt x="1680005" y="1464852"/>
                </a:lnTo>
                <a:lnTo>
                  <a:pt x="1680599" y="1476202"/>
                </a:lnTo>
                <a:cubicBezTo>
                  <a:pt x="1680599" y="1481838"/>
                  <a:pt x="1680540" y="1487460"/>
                  <a:pt x="1679228" y="1493044"/>
                </a:cubicBezTo>
                <a:cubicBezTo>
                  <a:pt x="1679270" y="1524133"/>
                  <a:pt x="1676820" y="1554782"/>
                  <a:pt x="1671761" y="1584794"/>
                </a:cubicBezTo>
                <a:lnTo>
                  <a:pt x="1671223" y="1591418"/>
                </a:lnTo>
                <a:cubicBezTo>
                  <a:pt x="1671053" y="1591423"/>
                  <a:pt x="1670885" y="1591427"/>
                  <a:pt x="1670717" y="1591480"/>
                </a:cubicBezTo>
                <a:cubicBezTo>
                  <a:pt x="1620442" y="1941574"/>
                  <a:pt x="1339403" y="2220146"/>
                  <a:pt x="980552" y="2279078"/>
                </a:cubicBezTo>
                <a:lnTo>
                  <a:pt x="980435" y="2280217"/>
                </a:lnTo>
                <a:cubicBezTo>
                  <a:pt x="975125" y="2281220"/>
                  <a:pt x="969796" y="2282161"/>
                  <a:pt x="964219" y="2281745"/>
                </a:cubicBezTo>
                <a:cubicBezTo>
                  <a:pt x="933047" y="2287255"/>
                  <a:pt x="901167" y="2290213"/>
                  <a:pt x="868792" y="2290736"/>
                </a:cubicBezTo>
                <a:lnTo>
                  <a:pt x="851674" y="2292349"/>
                </a:lnTo>
                <a:lnTo>
                  <a:pt x="851648" y="2291858"/>
                </a:lnTo>
                <a:lnTo>
                  <a:pt x="851149" y="2291891"/>
                </a:lnTo>
                <a:cubicBezTo>
                  <a:pt x="850583" y="2288119"/>
                  <a:pt x="850556" y="2284333"/>
                  <a:pt x="850556" y="2280541"/>
                </a:cubicBezTo>
                <a:cubicBezTo>
                  <a:pt x="850556" y="2274903"/>
                  <a:pt x="850614" y="2269279"/>
                  <a:pt x="851926" y="2263693"/>
                </a:cubicBezTo>
                <a:cubicBezTo>
                  <a:pt x="851884" y="2232611"/>
                  <a:pt x="854334" y="2201969"/>
                  <a:pt x="859390" y="2171962"/>
                </a:cubicBezTo>
                <a:lnTo>
                  <a:pt x="859931" y="2165325"/>
                </a:lnTo>
                <a:cubicBezTo>
                  <a:pt x="860099" y="2165320"/>
                  <a:pt x="860269" y="2165315"/>
                  <a:pt x="860436" y="2165262"/>
                </a:cubicBezTo>
                <a:cubicBezTo>
                  <a:pt x="910713" y="1815167"/>
                  <a:pt x="1191752" y="1536596"/>
                  <a:pt x="1550602" y="1477664"/>
                </a:cubicBezTo>
                <a:lnTo>
                  <a:pt x="1550719" y="1476525"/>
                </a:lnTo>
                <a:cubicBezTo>
                  <a:pt x="1556028" y="1475523"/>
                  <a:pt x="1561356" y="1474582"/>
                  <a:pt x="1566932" y="1474998"/>
                </a:cubicBezTo>
                <a:cubicBezTo>
                  <a:pt x="1598115" y="1469485"/>
                  <a:pt x="1630008" y="1466527"/>
                  <a:pt x="1662393" y="1466004"/>
                </a:cubicBezTo>
                <a:close/>
                <a:moveTo>
                  <a:pt x="1118" y="1464394"/>
                </a:moveTo>
                <a:lnTo>
                  <a:pt x="18205" y="1466004"/>
                </a:lnTo>
                <a:cubicBezTo>
                  <a:pt x="50591" y="1466527"/>
                  <a:pt x="82483" y="1469485"/>
                  <a:pt x="113667" y="1474998"/>
                </a:cubicBezTo>
                <a:cubicBezTo>
                  <a:pt x="119243" y="1474582"/>
                  <a:pt x="124571" y="1475523"/>
                  <a:pt x="129879" y="1476525"/>
                </a:cubicBezTo>
                <a:lnTo>
                  <a:pt x="129997" y="1477664"/>
                </a:lnTo>
                <a:cubicBezTo>
                  <a:pt x="488847" y="1536596"/>
                  <a:pt x="769886" y="1815167"/>
                  <a:pt x="820162" y="2165262"/>
                </a:cubicBezTo>
                <a:cubicBezTo>
                  <a:pt x="820330" y="2165315"/>
                  <a:pt x="820499" y="2165320"/>
                  <a:pt x="820668" y="2165325"/>
                </a:cubicBezTo>
                <a:lnTo>
                  <a:pt x="821208" y="2171962"/>
                </a:lnTo>
                <a:cubicBezTo>
                  <a:pt x="826265" y="2201969"/>
                  <a:pt x="828714" y="2232611"/>
                  <a:pt x="828672" y="2263693"/>
                </a:cubicBezTo>
                <a:cubicBezTo>
                  <a:pt x="829984" y="2269279"/>
                  <a:pt x="830043" y="2274903"/>
                  <a:pt x="830043" y="2280541"/>
                </a:cubicBezTo>
                <a:cubicBezTo>
                  <a:pt x="830043" y="2284333"/>
                  <a:pt x="830016" y="2288119"/>
                  <a:pt x="829450" y="2291891"/>
                </a:cubicBezTo>
                <a:lnTo>
                  <a:pt x="828951" y="2291858"/>
                </a:lnTo>
                <a:lnTo>
                  <a:pt x="828925" y="2292349"/>
                </a:lnTo>
                <a:lnTo>
                  <a:pt x="811806" y="2290736"/>
                </a:lnTo>
                <a:cubicBezTo>
                  <a:pt x="779432" y="2290213"/>
                  <a:pt x="747552" y="2287255"/>
                  <a:pt x="716380" y="2281745"/>
                </a:cubicBezTo>
                <a:cubicBezTo>
                  <a:pt x="710803" y="2282161"/>
                  <a:pt x="705474" y="2281220"/>
                  <a:pt x="700163" y="2280217"/>
                </a:cubicBezTo>
                <a:lnTo>
                  <a:pt x="700047" y="2279078"/>
                </a:lnTo>
                <a:cubicBezTo>
                  <a:pt x="341196" y="2220146"/>
                  <a:pt x="60157" y="1941574"/>
                  <a:pt x="9881" y="1591480"/>
                </a:cubicBezTo>
                <a:cubicBezTo>
                  <a:pt x="9714" y="1591427"/>
                  <a:pt x="9545" y="1591423"/>
                  <a:pt x="9376" y="1591418"/>
                </a:cubicBezTo>
                <a:lnTo>
                  <a:pt x="8837" y="1584794"/>
                </a:lnTo>
                <a:cubicBezTo>
                  <a:pt x="3779" y="1554782"/>
                  <a:pt x="1328" y="1524133"/>
                  <a:pt x="1370" y="1493044"/>
                </a:cubicBezTo>
                <a:cubicBezTo>
                  <a:pt x="58" y="1487460"/>
                  <a:pt x="0" y="1481838"/>
                  <a:pt x="0" y="1476202"/>
                </a:cubicBezTo>
                <a:lnTo>
                  <a:pt x="594" y="1464852"/>
                </a:lnTo>
                <a:lnTo>
                  <a:pt x="1092" y="1464884"/>
                </a:lnTo>
                <a:close/>
                <a:moveTo>
                  <a:pt x="7762529" y="750600"/>
                </a:moveTo>
                <a:cubicBezTo>
                  <a:pt x="7815805" y="1021506"/>
                  <a:pt x="8030648" y="1236303"/>
                  <a:pt x="8305838" y="1295446"/>
                </a:cubicBezTo>
                <a:cubicBezTo>
                  <a:pt x="8252563" y="1024540"/>
                  <a:pt x="8037719" y="809743"/>
                  <a:pt x="7762529" y="750600"/>
                </a:cubicBezTo>
                <a:close/>
                <a:moveTo>
                  <a:pt x="7455280" y="750600"/>
                </a:moveTo>
                <a:cubicBezTo>
                  <a:pt x="7180090" y="809743"/>
                  <a:pt x="6965246" y="1024540"/>
                  <a:pt x="6911971" y="1295446"/>
                </a:cubicBezTo>
                <a:cubicBezTo>
                  <a:pt x="7187161" y="1236303"/>
                  <a:pt x="7402004" y="1021506"/>
                  <a:pt x="7455280" y="750600"/>
                </a:cubicBezTo>
                <a:close/>
                <a:moveTo>
                  <a:pt x="6070378" y="750600"/>
                </a:moveTo>
                <a:cubicBezTo>
                  <a:pt x="6123654" y="1021506"/>
                  <a:pt x="6338497" y="1236303"/>
                  <a:pt x="6613687" y="1295446"/>
                </a:cubicBezTo>
                <a:cubicBezTo>
                  <a:pt x="6560412" y="1024540"/>
                  <a:pt x="6345568" y="809743"/>
                  <a:pt x="6070378" y="750600"/>
                </a:cubicBezTo>
                <a:close/>
                <a:moveTo>
                  <a:pt x="5763129" y="750600"/>
                </a:moveTo>
                <a:cubicBezTo>
                  <a:pt x="5487939" y="809743"/>
                  <a:pt x="5273095" y="1024540"/>
                  <a:pt x="5219820" y="1295446"/>
                </a:cubicBezTo>
                <a:cubicBezTo>
                  <a:pt x="5495010" y="1236303"/>
                  <a:pt x="5709853" y="1021506"/>
                  <a:pt x="5763129" y="750600"/>
                </a:cubicBezTo>
                <a:close/>
                <a:moveTo>
                  <a:pt x="4378227" y="750600"/>
                </a:moveTo>
                <a:cubicBezTo>
                  <a:pt x="4431503" y="1021506"/>
                  <a:pt x="4646346" y="1236303"/>
                  <a:pt x="4921536" y="1295446"/>
                </a:cubicBezTo>
                <a:cubicBezTo>
                  <a:pt x="4868261" y="1024540"/>
                  <a:pt x="4653417" y="809743"/>
                  <a:pt x="4378227" y="750600"/>
                </a:cubicBezTo>
                <a:close/>
                <a:moveTo>
                  <a:pt x="4070978" y="750600"/>
                </a:moveTo>
                <a:cubicBezTo>
                  <a:pt x="3795788" y="809743"/>
                  <a:pt x="3580944" y="1024540"/>
                  <a:pt x="3527669" y="1295446"/>
                </a:cubicBezTo>
                <a:cubicBezTo>
                  <a:pt x="3802859" y="1236303"/>
                  <a:pt x="4017702" y="1021506"/>
                  <a:pt x="4070978" y="750600"/>
                </a:cubicBezTo>
                <a:close/>
                <a:moveTo>
                  <a:pt x="2686076" y="750600"/>
                </a:moveTo>
                <a:cubicBezTo>
                  <a:pt x="2739352" y="1021506"/>
                  <a:pt x="2954195" y="1236303"/>
                  <a:pt x="3229385" y="1295446"/>
                </a:cubicBezTo>
                <a:cubicBezTo>
                  <a:pt x="3176110" y="1024540"/>
                  <a:pt x="2961266" y="809743"/>
                  <a:pt x="2686076" y="750600"/>
                </a:cubicBezTo>
                <a:close/>
                <a:moveTo>
                  <a:pt x="2378827" y="750600"/>
                </a:moveTo>
                <a:cubicBezTo>
                  <a:pt x="2103637" y="809743"/>
                  <a:pt x="1888793" y="1024540"/>
                  <a:pt x="1835518" y="1295446"/>
                </a:cubicBezTo>
                <a:cubicBezTo>
                  <a:pt x="2110708" y="1236303"/>
                  <a:pt x="2325551" y="1021506"/>
                  <a:pt x="2378827" y="750600"/>
                </a:cubicBezTo>
                <a:close/>
                <a:moveTo>
                  <a:pt x="993925" y="750600"/>
                </a:moveTo>
                <a:cubicBezTo>
                  <a:pt x="1047201" y="1021506"/>
                  <a:pt x="1262044" y="1236303"/>
                  <a:pt x="1537234" y="1295446"/>
                </a:cubicBezTo>
                <a:cubicBezTo>
                  <a:pt x="1483959" y="1024540"/>
                  <a:pt x="1269115" y="809743"/>
                  <a:pt x="993925" y="750600"/>
                </a:cubicBezTo>
                <a:close/>
                <a:moveTo>
                  <a:pt x="686676" y="750600"/>
                </a:moveTo>
                <a:cubicBezTo>
                  <a:pt x="411486" y="809743"/>
                  <a:pt x="196642" y="1024540"/>
                  <a:pt x="143367" y="1295446"/>
                </a:cubicBezTo>
                <a:cubicBezTo>
                  <a:pt x="418557" y="1236303"/>
                  <a:pt x="633400" y="1021506"/>
                  <a:pt x="686676" y="750600"/>
                </a:cubicBezTo>
                <a:close/>
                <a:moveTo>
                  <a:pt x="9139239" y="624486"/>
                </a:moveTo>
                <a:lnTo>
                  <a:pt x="9139239" y="752995"/>
                </a:lnTo>
                <a:lnTo>
                  <a:pt x="9047261" y="779881"/>
                </a:lnTo>
                <a:cubicBezTo>
                  <a:pt x="8821055" y="864319"/>
                  <a:pt x="8650738" y="1058403"/>
                  <a:pt x="8604122" y="1295446"/>
                </a:cubicBezTo>
                <a:cubicBezTo>
                  <a:pt x="8844913" y="1243696"/>
                  <a:pt x="9039501" y="1072773"/>
                  <a:pt x="9120077" y="849365"/>
                </a:cubicBezTo>
                <a:lnTo>
                  <a:pt x="9139239" y="780178"/>
                </a:lnTo>
                <a:lnTo>
                  <a:pt x="9139239" y="1085737"/>
                </a:lnTo>
                <a:lnTo>
                  <a:pt x="9135069" y="1092549"/>
                </a:lnTo>
                <a:cubicBezTo>
                  <a:pt x="9008919" y="1266178"/>
                  <a:pt x="8815033" y="1389778"/>
                  <a:pt x="8590751" y="1426902"/>
                </a:cubicBezTo>
                <a:lnTo>
                  <a:pt x="8590635" y="1428050"/>
                </a:lnTo>
                <a:cubicBezTo>
                  <a:pt x="8585324" y="1429061"/>
                  <a:pt x="8579995" y="1430009"/>
                  <a:pt x="8574418" y="1429590"/>
                </a:cubicBezTo>
                <a:cubicBezTo>
                  <a:pt x="8543246" y="1435144"/>
                  <a:pt x="8511366" y="1438125"/>
                  <a:pt x="8478991" y="1438652"/>
                </a:cubicBezTo>
                <a:lnTo>
                  <a:pt x="8461873" y="1440278"/>
                </a:lnTo>
                <a:lnTo>
                  <a:pt x="8461847" y="1439783"/>
                </a:lnTo>
                <a:lnTo>
                  <a:pt x="8461348" y="1439816"/>
                </a:lnTo>
                <a:cubicBezTo>
                  <a:pt x="8460782" y="1436014"/>
                  <a:pt x="8460755" y="1432198"/>
                  <a:pt x="8460755" y="1428376"/>
                </a:cubicBezTo>
                <a:cubicBezTo>
                  <a:pt x="8460755" y="1422694"/>
                  <a:pt x="8460814" y="1417025"/>
                  <a:pt x="8462126" y="1411395"/>
                </a:cubicBezTo>
                <a:cubicBezTo>
                  <a:pt x="8462083" y="1380067"/>
                  <a:pt x="8464533" y="1349182"/>
                  <a:pt x="8469590" y="1318938"/>
                </a:cubicBezTo>
                <a:lnTo>
                  <a:pt x="8470130" y="1312248"/>
                </a:lnTo>
                <a:cubicBezTo>
                  <a:pt x="8470299" y="1312243"/>
                  <a:pt x="8470468" y="1312238"/>
                  <a:pt x="8470636" y="1312185"/>
                </a:cubicBezTo>
                <a:cubicBezTo>
                  <a:pt x="8514628" y="1003427"/>
                  <a:pt x="8735297" y="749863"/>
                  <a:pt x="9030178" y="651504"/>
                </a:cubicBezTo>
                <a:close/>
                <a:moveTo>
                  <a:pt x="7620280" y="605769"/>
                </a:moveTo>
                <a:lnTo>
                  <a:pt x="7637367" y="607392"/>
                </a:lnTo>
                <a:cubicBezTo>
                  <a:pt x="7669753" y="607919"/>
                  <a:pt x="7701646" y="610900"/>
                  <a:pt x="7732829" y="616457"/>
                </a:cubicBezTo>
                <a:cubicBezTo>
                  <a:pt x="7738405" y="616038"/>
                  <a:pt x="7743733" y="616986"/>
                  <a:pt x="7749042" y="617996"/>
                </a:cubicBezTo>
                <a:lnTo>
                  <a:pt x="7749159" y="619144"/>
                </a:lnTo>
                <a:cubicBezTo>
                  <a:pt x="8108009" y="678542"/>
                  <a:pt x="8389048" y="959319"/>
                  <a:pt x="8439324" y="1312185"/>
                </a:cubicBezTo>
                <a:cubicBezTo>
                  <a:pt x="8439492" y="1312238"/>
                  <a:pt x="8439661" y="1312243"/>
                  <a:pt x="8439830" y="1312248"/>
                </a:cubicBezTo>
                <a:lnTo>
                  <a:pt x="8440370" y="1318938"/>
                </a:lnTo>
                <a:cubicBezTo>
                  <a:pt x="8445427" y="1349182"/>
                  <a:pt x="8447877" y="1380067"/>
                  <a:pt x="8447834" y="1411395"/>
                </a:cubicBezTo>
                <a:cubicBezTo>
                  <a:pt x="8449146" y="1417025"/>
                  <a:pt x="8449205" y="1422694"/>
                  <a:pt x="8449205" y="1428376"/>
                </a:cubicBezTo>
                <a:cubicBezTo>
                  <a:pt x="8449205" y="1432198"/>
                  <a:pt x="8449178" y="1436014"/>
                  <a:pt x="8448612" y="1439816"/>
                </a:cubicBezTo>
                <a:lnTo>
                  <a:pt x="8448113" y="1439783"/>
                </a:lnTo>
                <a:lnTo>
                  <a:pt x="8448087" y="1440278"/>
                </a:lnTo>
                <a:lnTo>
                  <a:pt x="8430969" y="1438652"/>
                </a:lnTo>
                <a:cubicBezTo>
                  <a:pt x="8398594" y="1438125"/>
                  <a:pt x="8366714" y="1435144"/>
                  <a:pt x="8335542" y="1429590"/>
                </a:cubicBezTo>
                <a:cubicBezTo>
                  <a:pt x="8329965" y="1430009"/>
                  <a:pt x="8324636" y="1429061"/>
                  <a:pt x="8319325" y="1428050"/>
                </a:cubicBezTo>
                <a:lnTo>
                  <a:pt x="8319209" y="1426902"/>
                </a:lnTo>
                <a:cubicBezTo>
                  <a:pt x="7960358" y="1367503"/>
                  <a:pt x="7679319" y="1086726"/>
                  <a:pt x="7629044" y="733861"/>
                </a:cubicBezTo>
                <a:cubicBezTo>
                  <a:pt x="7628876" y="733808"/>
                  <a:pt x="7628708" y="733803"/>
                  <a:pt x="7628538" y="733798"/>
                </a:cubicBezTo>
                <a:lnTo>
                  <a:pt x="7628000" y="727122"/>
                </a:lnTo>
                <a:cubicBezTo>
                  <a:pt x="7622941" y="696872"/>
                  <a:pt x="7620490" y="665981"/>
                  <a:pt x="7620533" y="634646"/>
                </a:cubicBezTo>
                <a:cubicBezTo>
                  <a:pt x="7619221" y="629018"/>
                  <a:pt x="7619162" y="623351"/>
                  <a:pt x="7619162" y="617670"/>
                </a:cubicBezTo>
                <a:lnTo>
                  <a:pt x="7619756" y="606230"/>
                </a:lnTo>
                <a:lnTo>
                  <a:pt x="7620254" y="606263"/>
                </a:lnTo>
                <a:close/>
                <a:moveTo>
                  <a:pt x="7597529" y="605769"/>
                </a:moveTo>
                <a:lnTo>
                  <a:pt x="7597555" y="606263"/>
                </a:lnTo>
                <a:lnTo>
                  <a:pt x="7598053" y="606230"/>
                </a:lnTo>
                <a:lnTo>
                  <a:pt x="7598647" y="617670"/>
                </a:lnTo>
                <a:cubicBezTo>
                  <a:pt x="7598647" y="623351"/>
                  <a:pt x="7598588" y="629018"/>
                  <a:pt x="7597276" y="634646"/>
                </a:cubicBezTo>
                <a:cubicBezTo>
                  <a:pt x="7597319" y="665981"/>
                  <a:pt x="7594868" y="696872"/>
                  <a:pt x="7589809" y="727122"/>
                </a:cubicBezTo>
                <a:lnTo>
                  <a:pt x="7589271" y="733798"/>
                </a:lnTo>
                <a:cubicBezTo>
                  <a:pt x="7589101" y="733803"/>
                  <a:pt x="7588933" y="733808"/>
                  <a:pt x="7588765" y="733861"/>
                </a:cubicBezTo>
                <a:cubicBezTo>
                  <a:pt x="7538490" y="1086726"/>
                  <a:pt x="7257451" y="1367503"/>
                  <a:pt x="6898600" y="1426902"/>
                </a:cubicBezTo>
                <a:lnTo>
                  <a:pt x="6898484" y="1428050"/>
                </a:lnTo>
                <a:cubicBezTo>
                  <a:pt x="6893173" y="1429061"/>
                  <a:pt x="6887844" y="1430009"/>
                  <a:pt x="6882267" y="1429590"/>
                </a:cubicBezTo>
                <a:cubicBezTo>
                  <a:pt x="6851095" y="1435144"/>
                  <a:pt x="6819215" y="1438125"/>
                  <a:pt x="6786841" y="1438652"/>
                </a:cubicBezTo>
                <a:lnTo>
                  <a:pt x="6769722" y="1440278"/>
                </a:lnTo>
                <a:lnTo>
                  <a:pt x="6769696" y="1439783"/>
                </a:lnTo>
                <a:lnTo>
                  <a:pt x="6769197" y="1439816"/>
                </a:lnTo>
                <a:cubicBezTo>
                  <a:pt x="6768631" y="1436014"/>
                  <a:pt x="6768604" y="1432198"/>
                  <a:pt x="6768604" y="1428376"/>
                </a:cubicBezTo>
                <a:cubicBezTo>
                  <a:pt x="6768604" y="1422694"/>
                  <a:pt x="6768663" y="1417025"/>
                  <a:pt x="6769975" y="1411395"/>
                </a:cubicBezTo>
                <a:cubicBezTo>
                  <a:pt x="6769933" y="1380067"/>
                  <a:pt x="6772382" y="1349182"/>
                  <a:pt x="6777439" y="1318938"/>
                </a:cubicBezTo>
                <a:lnTo>
                  <a:pt x="6777979" y="1312248"/>
                </a:lnTo>
                <a:cubicBezTo>
                  <a:pt x="6778148" y="1312243"/>
                  <a:pt x="6778317" y="1312238"/>
                  <a:pt x="6778485" y="1312185"/>
                </a:cubicBezTo>
                <a:cubicBezTo>
                  <a:pt x="6828761" y="959319"/>
                  <a:pt x="7109800" y="678542"/>
                  <a:pt x="7468650" y="619144"/>
                </a:cubicBezTo>
                <a:lnTo>
                  <a:pt x="7468767" y="617996"/>
                </a:lnTo>
                <a:cubicBezTo>
                  <a:pt x="7474076" y="616986"/>
                  <a:pt x="7479404" y="616038"/>
                  <a:pt x="7484980" y="616457"/>
                </a:cubicBezTo>
                <a:cubicBezTo>
                  <a:pt x="7516163" y="610900"/>
                  <a:pt x="7548056" y="607919"/>
                  <a:pt x="7580442" y="607392"/>
                </a:cubicBezTo>
                <a:close/>
                <a:moveTo>
                  <a:pt x="5928129" y="605769"/>
                </a:moveTo>
                <a:lnTo>
                  <a:pt x="5945217" y="607392"/>
                </a:lnTo>
                <a:cubicBezTo>
                  <a:pt x="5977602" y="607919"/>
                  <a:pt x="6009495" y="610900"/>
                  <a:pt x="6040678" y="616457"/>
                </a:cubicBezTo>
                <a:cubicBezTo>
                  <a:pt x="6046254" y="616038"/>
                  <a:pt x="6051582" y="616986"/>
                  <a:pt x="6056891" y="617996"/>
                </a:cubicBezTo>
                <a:lnTo>
                  <a:pt x="6057008" y="619144"/>
                </a:lnTo>
                <a:cubicBezTo>
                  <a:pt x="6415858" y="678542"/>
                  <a:pt x="6696897" y="959319"/>
                  <a:pt x="6747174" y="1312185"/>
                </a:cubicBezTo>
                <a:cubicBezTo>
                  <a:pt x="6747341" y="1312238"/>
                  <a:pt x="6747511" y="1312243"/>
                  <a:pt x="6747679" y="1312248"/>
                </a:cubicBezTo>
                <a:lnTo>
                  <a:pt x="6748220" y="1318938"/>
                </a:lnTo>
                <a:cubicBezTo>
                  <a:pt x="6753276" y="1349182"/>
                  <a:pt x="6755726" y="1380067"/>
                  <a:pt x="6755684" y="1411395"/>
                </a:cubicBezTo>
                <a:cubicBezTo>
                  <a:pt x="6756996" y="1417025"/>
                  <a:pt x="6757054" y="1422694"/>
                  <a:pt x="6757054" y="1428376"/>
                </a:cubicBezTo>
                <a:cubicBezTo>
                  <a:pt x="6757054" y="1432198"/>
                  <a:pt x="6757027" y="1436014"/>
                  <a:pt x="6756461" y="1439816"/>
                </a:cubicBezTo>
                <a:lnTo>
                  <a:pt x="6755962" y="1439783"/>
                </a:lnTo>
                <a:lnTo>
                  <a:pt x="6755936" y="1440278"/>
                </a:lnTo>
                <a:lnTo>
                  <a:pt x="6738818" y="1438652"/>
                </a:lnTo>
                <a:cubicBezTo>
                  <a:pt x="6706444" y="1438125"/>
                  <a:pt x="6674563" y="1435144"/>
                  <a:pt x="6643391" y="1429590"/>
                </a:cubicBezTo>
                <a:cubicBezTo>
                  <a:pt x="6637814" y="1430009"/>
                  <a:pt x="6632485" y="1429061"/>
                  <a:pt x="6627175" y="1428050"/>
                </a:cubicBezTo>
                <a:lnTo>
                  <a:pt x="6627059" y="1426902"/>
                </a:lnTo>
                <a:cubicBezTo>
                  <a:pt x="6268207" y="1367503"/>
                  <a:pt x="5987168" y="1086726"/>
                  <a:pt x="5936893" y="733861"/>
                </a:cubicBezTo>
                <a:cubicBezTo>
                  <a:pt x="5936725" y="733808"/>
                  <a:pt x="5936557" y="733803"/>
                  <a:pt x="5936387" y="733798"/>
                </a:cubicBezTo>
                <a:lnTo>
                  <a:pt x="5935849" y="727122"/>
                </a:lnTo>
                <a:cubicBezTo>
                  <a:pt x="5930790" y="696872"/>
                  <a:pt x="5928340" y="665981"/>
                  <a:pt x="5928382" y="634646"/>
                </a:cubicBezTo>
                <a:cubicBezTo>
                  <a:pt x="5927070" y="629018"/>
                  <a:pt x="5927011" y="623351"/>
                  <a:pt x="5927011" y="617670"/>
                </a:cubicBezTo>
                <a:lnTo>
                  <a:pt x="5927605" y="606230"/>
                </a:lnTo>
                <a:lnTo>
                  <a:pt x="5928103" y="606263"/>
                </a:lnTo>
                <a:close/>
                <a:moveTo>
                  <a:pt x="5905378" y="605769"/>
                </a:moveTo>
                <a:lnTo>
                  <a:pt x="5905404" y="606263"/>
                </a:lnTo>
                <a:lnTo>
                  <a:pt x="5905902" y="606230"/>
                </a:lnTo>
                <a:lnTo>
                  <a:pt x="5906496" y="617670"/>
                </a:lnTo>
                <a:cubicBezTo>
                  <a:pt x="5906496" y="623351"/>
                  <a:pt x="5906438" y="629018"/>
                  <a:pt x="5905126" y="634646"/>
                </a:cubicBezTo>
                <a:cubicBezTo>
                  <a:pt x="5905168" y="665981"/>
                  <a:pt x="5902717" y="696872"/>
                  <a:pt x="5897659" y="727122"/>
                </a:cubicBezTo>
                <a:lnTo>
                  <a:pt x="5897120" y="733798"/>
                </a:lnTo>
                <a:cubicBezTo>
                  <a:pt x="5896951" y="733803"/>
                  <a:pt x="5896782" y="733808"/>
                  <a:pt x="5896615" y="733861"/>
                </a:cubicBezTo>
                <a:cubicBezTo>
                  <a:pt x="5846339" y="1086726"/>
                  <a:pt x="5565300" y="1367503"/>
                  <a:pt x="5206449" y="1426902"/>
                </a:cubicBezTo>
                <a:lnTo>
                  <a:pt x="5206334" y="1428050"/>
                </a:lnTo>
                <a:cubicBezTo>
                  <a:pt x="5201022" y="1429061"/>
                  <a:pt x="5195693" y="1430009"/>
                  <a:pt x="5190116" y="1429590"/>
                </a:cubicBezTo>
                <a:cubicBezTo>
                  <a:pt x="5158944" y="1435144"/>
                  <a:pt x="5127065" y="1438125"/>
                  <a:pt x="5094690" y="1438652"/>
                </a:cubicBezTo>
                <a:lnTo>
                  <a:pt x="5077571" y="1440278"/>
                </a:lnTo>
                <a:lnTo>
                  <a:pt x="5077545" y="1439783"/>
                </a:lnTo>
                <a:lnTo>
                  <a:pt x="5077046" y="1439816"/>
                </a:lnTo>
                <a:cubicBezTo>
                  <a:pt x="5076480" y="1436014"/>
                  <a:pt x="5076453" y="1432198"/>
                  <a:pt x="5076453" y="1428376"/>
                </a:cubicBezTo>
                <a:cubicBezTo>
                  <a:pt x="5076453" y="1422694"/>
                  <a:pt x="5076512" y="1417025"/>
                  <a:pt x="5077824" y="1411395"/>
                </a:cubicBezTo>
                <a:cubicBezTo>
                  <a:pt x="5077782" y="1380067"/>
                  <a:pt x="5080231" y="1349182"/>
                  <a:pt x="5085288" y="1318938"/>
                </a:cubicBezTo>
                <a:lnTo>
                  <a:pt x="5085828" y="1312248"/>
                </a:lnTo>
                <a:cubicBezTo>
                  <a:pt x="5085997" y="1312243"/>
                  <a:pt x="5086166" y="1312238"/>
                  <a:pt x="5086334" y="1312185"/>
                </a:cubicBezTo>
                <a:cubicBezTo>
                  <a:pt x="5136610" y="959319"/>
                  <a:pt x="5417649" y="678542"/>
                  <a:pt x="5776501" y="619144"/>
                </a:cubicBezTo>
                <a:lnTo>
                  <a:pt x="5776617" y="617996"/>
                </a:lnTo>
                <a:cubicBezTo>
                  <a:pt x="5781926" y="616986"/>
                  <a:pt x="5787253" y="616038"/>
                  <a:pt x="5792829" y="616457"/>
                </a:cubicBezTo>
                <a:cubicBezTo>
                  <a:pt x="5824013" y="610900"/>
                  <a:pt x="5855905" y="607919"/>
                  <a:pt x="5888291" y="607392"/>
                </a:cubicBezTo>
                <a:close/>
                <a:moveTo>
                  <a:pt x="4235979" y="605769"/>
                </a:moveTo>
                <a:lnTo>
                  <a:pt x="4253065" y="607392"/>
                </a:lnTo>
                <a:cubicBezTo>
                  <a:pt x="4285451" y="607919"/>
                  <a:pt x="4317343" y="610900"/>
                  <a:pt x="4348528" y="616457"/>
                </a:cubicBezTo>
                <a:cubicBezTo>
                  <a:pt x="4354104" y="616038"/>
                  <a:pt x="4359431" y="616986"/>
                  <a:pt x="4364739" y="617996"/>
                </a:cubicBezTo>
                <a:lnTo>
                  <a:pt x="4364856" y="619144"/>
                </a:lnTo>
                <a:cubicBezTo>
                  <a:pt x="4723707" y="678542"/>
                  <a:pt x="5004746" y="959319"/>
                  <a:pt x="5055022" y="1312185"/>
                </a:cubicBezTo>
                <a:cubicBezTo>
                  <a:pt x="5055190" y="1312238"/>
                  <a:pt x="5055359" y="1312243"/>
                  <a:pt x="5055528" y="1312248"/>
                </a:cubicBezTo>
                <a:lnTo>
                  <a:pt x="5056068" y="1318938"/>
                </a:lnTo>
                <a:cubicBezTo>
                  <a:pt x="5061125" y="1349182"/>
                  <a:pt x="5063574" y="1380067"/>
                  <a:pt x="5063532" y="1411395"/>
                </a:cubicBezTo>
                <a:cubicBezTo>
                  <a:pt x="5064844" y="1417025"/>
                  <a:pt x="5064903" y="1422694"/>
                  <a:pt x="5064903" y="1428376"/>
                </a:cubicBezTo>
                <a:cubicBezTo>
                  <a:pt x="5064903" y="1432198"/>
                  <a:pt x="5064876" y="1436014"/>
                  <a:pt x="5064310" y="1439816"/>
                </a:cubicBezTo>
                <a:lnTo>
                  <a:pt x="5063811" y="1439783"/>
                </a:lnTo>
                <a:lnTo>
                  <a:pt x="5063785" y="1440278"/>
                </a:lnTo>
                <a:lnTo>
                  <a:pt x="5046666" y="1438652"/>
                </a:lnTo>
                <a:cubicBezTo>
                  <a:pt x="5014292" y="1438125"/>
                  <a:pt x="4982412" y="1435144"/>
                  <a:pt x="4951241" y="1429590"/>
                </a:cubicBezTo>
                <a:cubicBezTo>
                  <a:pt x="4945663" y="1430009"/>
                  <a:pt x="4940334" y="1429061"/>
                  <a:pt x="4935023" y="1428050"/>
                </a:cubicBezTo>
                <a:lnTo>
                  <a:pt x="4934907" y="1426902"/>
                </a:lnTo>
                <a:cubicBezTo>
                  <a:pt x="4576056" y="1367503"/>
                  <a:pt x="4295017" y="1086726"/>
                  <a:pt x="4244741" y="733861"/>
                </a:cubicBezTo>
                <a:cubicBezTo>
                  <a:pt x="4244574" y="733808"/>
                  <a:pt x="4244405" y="733803"/>
                  <a:pt x="4244236" y="733798"/>
                </a:cubicBezTo>
                <a:lnTo>
                  <a:pt x="4243697" y="727122"/>
                </a:lnTo>
                <a:cubicBezTo>
                  <a:pt x="4238639" y="696872"/>
                  <a:pt x="4236188" y="665981"/>
                  <a:pt x="4236230" y="634646"/>
                </a:cubicBezTo>
                <a:cubicBezTo>
                  <a:pt x="4234918" y="629018"/>
                  <a:pt x="4234860" y="623351"/>
                  <a:pt x="4234860" y="617670"/>
                </a:cubicBezTo>
                <a:lnTo>
                  <a:pt x="4235454" y="606230"/>
                </a:lnTo>
                <a:lnTo>
                  <a:pt x="4235952" y="606263"/>
                </a:lnTo>
                <a:close/>
                <a:moveTo>
                  <a:pt x="4213227" y="605769"/>
                </a:moveTo>
                <a:lnTo>
                  <a:pt x="4213253" y="606263"/>
                </a:lnTo>
                <a:lnTo>
                  <a:pt x="4213751" y="606230"/>
                </a:lnTo>
                <a:lnTo>
                  <a:pt x="4214345" y="617670"/>
                </a:lnTo>
                <a:cubicBezTo>
                  <a:pt x="4214345" y="623351"/>
                  <a:pt x="4214286" y="629018"/>
                  <a:pt x="4212974" y="634646"/>
                </a:cubicBezTo>
                <a:cubicBezTo>
                  <a:pt x="4213016" y="665981"/>
                  <a:pt x="4210566" y="696872"/>
                  <a:pt x="4205507" y="727122"/>
                </a:cubicBezTo>
                <a:lnTo>
                  <a:pt x="4204969" y="733798"/>
                </a:lnTo>
                <a:cubicBezTo>
                  <a:pt x="4204799" y="733803"/>
                  <a:pt x="4204631" y="733808"/>
                  <a:pt x="4204463" y="733861"/>
                </a:cubicBezTo>
                <a:cubicBezTo>
                  <a:pt x="4154188" y="1086726"/>
                  <a:pt x="3873149" y="1367503"/>
                  <a:pt x="3514297" y="1426902"/>
                </a:cubicBezTo>
                <a:lnTo>
                  <a:pt x="3514181" y="1428050"/>
                </a:lnTo>
                <a:cubicBezTo>
                  <a:pt x="3508871" y="1429061"/>
                  <a:pt x="3503542" y="1430009"/>
                  <a:pt x="3497965" y="1429590"/>
                </a:cubicBezTo>
                <a:cubicBezTo>
                  <a:pt x="3466793" y="1435144"/>
                  <a:pt x="3434912" y="1438125"/>
                  <a:pt x="3402538" y="1438652"/>
                </a:cubicBezTo>
                <a:lnTo>
                  <a:pt x="3385420" y="1440278"/>
                </a:lnTo>
                <a:lnTo>
                  <a:pt x="3385394" y="1439783"/>
                </a:lnTo>
                <a:lnTo>
                  <a:pt x="3384895" y="1439816"/>
                </a:lnTo>
                <a:cubicBezTo>
                  <a:pt x="3384329" y="1436014"/>
                  <a:pt x="3384302" y="1432198"/>
                  <a:pt x="3384302" y="1428376"/>
                </a:cubicBezTo>
                <a:cubicBezTo>
                  <a:pt x="3384302" y="1422694"/>
                  <a:pt x="3384360" y="1417025"/>
                  <a:pt x="3385672" y="1411395"/>
                </a:cubicBezTo>
                <a:cubicBezTo>
                  <a:pt x="3385630" y="1380067"/>
                  <a:pt x="3388080" y="1349182"/>
                  <a:pt x="3393136" y="1318938"/>
                </a:cubicBezTo>
                <a:lnTo>
                  <a:pt x="3393677" y="1312248"/>
                </a:lnTo>
                <a:cubicBezTo>
                  <a:pt x="3393845" y="1312243"/>
                  <a:pt x="3394015" y="1312238"/>
                  <a:pt x="3394182" y="1312185"/>
                </a:cubicBezTo>
                <a:cubicBezTo>
                  <a:pt x="3444459" y="959319"/>
                  <a:pt x="3725498" y="678542"/>
                  <a:pt x="4084348" y="619144"/>
                </a:cubicBezTo>
                <a:lnTo>
                  <a:pt x="4084465" y="617996"/>
                </a:lnTo>
                <a:cubicBezTo>
                  <a:pt x="4089774" y="616986"/>
                  <a:pt x="4095102" y="616038"/>
                  <a:pt x="4100678" y="616457"/>
                </a:cubicBezTo>
                <a:cubicBezTo>
                  <a:pt x="4131861" y="610900"/>
                  <a:pt x="4163754" y="607919"/>
                  <a:pt x="4196139" y="607392"/>
                </a:cubicBezTo>
                <a:close/>
                <a:moveTo>
                  <a:pt x="2543827" y="605769"/>
                </a:moveTo>
                <a:lnTo>
                  <a:pt x="2560914" y="607392"/>
                </a:lnTo>
                <a:cubicBezTo>
                  <a:pt x="2593300" y="607919"/>
                  <a:pt x="2625192" y="610900"/>
                  <a:pt x="2656376" y="616457"/>
                </a:cubicBezTo>
                <a:cubicBezTo>
                  <a:pt x="2661952" y="616038"/>
                  <a:pt x="2667280" y="616986"/>
                  <a:pt x="2672588" y="617996"/>
                </a:cubicBezTo>
                <a:lnTo>
                  <a:pt x="2672706" y="619144"/>
                </a:lnTo>
                <a:cubicBezTo>
                  <a:pt x="3031556" y="678542"/>
                  <a:pt x="3312595" y="959319"/>
                  <a:pt x="3362871" y="1312185"/>
                </a:cubicBezTo>
                <a:cubicBezTo>
                  <a:pt x="3363039" y="1312238"/>
                  <a:pt x="3363208" y="1312243"/>
                  <a:pt x="3363377" y="1312248"/>
                </a:cubicBezTo>
                <a:lnTo>
                  <a:pt x="3363917" y="1318938"/>
                </a:lnTo>
                <a:cubicBezTo>
                  <a:pt x="3368974" y="1349182"/>
                  <a:pt x="3371423" y="1380067"/>
                  <a:pt x="3371381" y="1411395"/>
                </a:cubicBezTo>
                <a:cubicBezTo>
                  <a:pt x="3372693" y="1417025"/>
                  <a:pt x="3372752" y="1422694"/>
                  <a:pt x="3372752" y="1428376"/>
                </a:cubicBezTo>
                <a:cubicBezTo>
                  <a:pt x="3372752" y="1432198"/>
                  <a:pt x="3372725" y="1436014"/>
                  <a:pt x="3372159" y="1439816"/>
                </a:cubicBezTo>
                <a:lnTo>
                  <a:pt x="3371660" y="1439783"/>
                </a:lnTo>
                <a:lnTo>
                  <a:pt x="3371634" y="1440278"/>
                </a:lnTo>
                <a:lnTo>
                  <a:pt x="3354515" y="1438652"/>
                </a:lnTo>
                <a:cubicBezTo>
                  <a:pt x="3322141" y="1438125"/>
                  <a:pt x="3290261" y="1435144"/>
                  <a:pt x="3259089" y="1429590"/>
                </a:cubicBezTo>
                <a:cubicBezTo>
                  <a:pt x="3253512" y="1430009"/>
                  <a:pt x="3248183" y="1429061"/>
                  <a:pt x="3242872" y="1428050"/>
                </a:cubicBezTo>
                <a:lnTo>
                  <a:pt x="3242756" y="1426902"/>
                </a:lnTo>
                <a:cubicBezTo>
                  <a:pt x="2883905" y="1367503"/>
                  <a:pt x="2602866" y="1086726"/>
                  <a:pt x="2552590" y="733861"/>
                </a:cubicBezTo>
                <a:cubicBezTo>
                  <a:pt x="2552423" y="733808"/>
                  <a:pt x="2552254" y="733803"/>
                  <a:pt x="2552085" y="733798"/>
                </a:cubicBezTo>
                <a:lnTo>
                  <a:pt x="2551547" y="727122"/>
                </a:lnTo>
                <a:cubicBezTo>
                  <a:pt x="2546488" y="696872"/>
                  <a:pt x="2544037" y="665981"/>
                  <a:pt x="2544079" y="634646"/>
                </a:cubicBezTo>
                <a:cubicBezTo>
                  <a:pt x="2542767" y="629018"/>
                  <a:pt x="2542709" y="623351"/>
                  <a:pt x="2542709" y="617670"/>
                </a:cubicBezTo>
                <a:lnTo>
                  <a:pt x="2543303" y="606230"/>
                </a:lnTo>
                <a:lnTo>
                  <a:pt x="2543801" y="606263"/>
                </a:lnTo>
                <a:close/>
                <a:moveTo>
                  <a:pt x="2521076" y="605769"/>
                </a:moveTo>
                <a:lnTo>
                  <a:pt x="2521102" y="606263"/>
                </a:lnTo>
                <a:lnTo>
                  <a:pt x="2521600" y="606230"/>
                </a:lnTo>
                <a:lnTo>
                  <a:pt x="2522194" y="617670"/>
                </a:lnTo>
                <a:cubicBezTo>
                  <a:pt x="2522194" y="623351"/>
                  <a:pt x="2522135" y="629018"/>
                  <a:pt x="2520823" y="634646"/>
                </a:cubicBezTo>
                <a:cubicBezTo>
                  <a:pt x="2520865" y="665981"/>
                  <a:pt x="2518415" y="696872"/>
                  <a:pt x="2513356" y="727122"/>
                </a:cubicBezTo>
                <a:lnTo>
                  <a:pt x="2512818" y="733798"/>
                </a:lnTo>
                <a:cubicBezTo>
                  <a:pt x="2512648" y="733803"/>
                  <a:pt x="2512480" y="733808"/>
                  <a:pt x="2512312" y="733861"/>
                </a:cubicBezTo>
                <a:cubicBezTo>
                  <a:pt x="2462037" y="1086726"/>
                  <a:pt x="2180998" y="1367503"/>
                  <a:pt x="1822147" y="1426902"/>
                </a:cubicBezTo>
                <a:lnTo>
                  <a:pt x="1822030" y="1428050"/>
                </a:lnTo>
                <a:cubicBezTo>
                  <a:pt x="1816720" y="1429061"/>
                  <a:pt x="1811391" y="1430009"/>
                  <a:pt x="1805814" y="1429590"/>
                </a:cubicBezTo>
                <a:cubicBezTo>
                  <a:pt x="1774642" y="1435144"/>
                  <a:pt x="1742762" y="1438125"/>
                  <a:pt x="1710387" y="1438652"/>
                </a:cubicBezTo>
                <a:lnTo>
                  <a:pt x="1693269" y="1440278"/>
                </a:lnTo>
                <a:lnTo>
                  <a:pt x="1693243" y="1439783"/>
                </a:lnTo>
                <a:lnTo>
                  <a:pt x="1692744" y="1439816"/>
                </a:lnTo>
                <a:cubicBezTo>
                  <a:pt x="1692178" y="1436014"/>
                  <a:pt x="1692151" y="1432198"/>
                  <a:pt x="1692151" y="1428376"/>
                </a:cubicBezTo>
                <a:cubicBezTo>
                  <a:pt x="1692151" y="1422694"/>
                  <a:pt x="1692209" y="1417025"/>
                  <a:pt x="1693521" y="1411395"/>
                </a:cubicBezTo>
                <a:cubicBezTo>
                  <a:pt x="1693479" y="1380067"/>
                  <a:pt x="1695929" y="1349182"/>
                  <a:pt x="1700985" y="1318938"/>
                </a:cubicBezTo>
                <a:lnTo>
                  <a:pt x="1701526" y="1312248"/>
                </a:lnTo>
                <a:cubicBezTo>
                  <a:pt x="1701694" y="1312243"/>
                  <a:pt x="1701864" y="1312238"/>
                  <a:pt x="1702031" y="1312185"/>
                </a:cubicBezTo>
                <a:cubicBezTo>
                  <a:pt x="1752308" y="959319"/>
                  <a:pt x="2033347" y="678542"/>
                  <a:pt x="2392197" y="619144"/>
                </a:cubicBezTo>
                <a:lnTo>
                  <a:pt x="2392314" y="617996"/>
                </a:lnTo>
                <a:cubicBezTo>
                  <a:pt x="2397623" y="616986"/>
                  <a:pt x="2402951" y="616038"/>
                  <a:pt x="2408527" y="616457"/>
                </a:cubicBezTo>
                <a:cubicBezTo>
                  <a:pt x="2439710" y="610900"/>
                  <a:pt x="2471603" y="607919"/>
                  <a:pt x="2503988" y="607392"/>
                </a:cubicBezTo>
                <a:close/>
                <a:moveTo>
                  <a:pt x="851676" y="605769"/>
                </a:moveTo>
                <a:lnTo>
                  <a:pt x="868763" y="607392"/>
                </a:lnTo>
                <a:cubicBezTo>
                  <a:pt x="901149" y="607919"/>
                  <a:pt x="933041" y="610900"/>
                  <a:pt x="964225" y="616457"/>
                </a:cubicBezTo>
                <a:cubicBezTo>
                  <a:pt x="969801" y="616038"/>
                  <a:pt x="975129" y="616986"/>
                  <a:pt x="980437" y="617996"/>
                </a:cubicBezTo>
                <a:lnTo>
                  <a:pt x="980555" y="619144"/>
                </a:lnTo>
                <a:cubicBezTo>
                  <a:pt x="1339405" y="678542"/>
                  <a:pt x="1620444" y="959319"/>
                  <a:pt x="1670720" y="1312185"/>
                </a:cubicBezTo>
                <a:cubicBezTo>
                  <a:pt x="1670888" y="1312238"/>
                  <a:pt x="1671057" y="1312243"/>
                  <a:pt x="1671226" y="1312248"/>
                </a:cubicBezTo>
                <a:lnTo>
                  <a:pt x="1671766" y="1318938"/>
                </a:lnTo>
                <a:cubicBezTo>
                  <a:pt x="1676823" y="1349182"/>
                  <a:pt x="1679272" y="1380067"/>
                  <a:pt x="1679230" y="1411395"/>
                </a:cubicBezTo>
                <a:cubicBezTo>
                  <a:pt x="1680542" y="1417025"/>
                  <a:pt x="1680601" y="1422694"/>
                  <a:pt x="1680601" y="1428376"/>
                </a:cubicBezTo>
                <a:cubicBezTo>
                  <a:pt x="1680601" y="1432198"/>
                  <a:pt x="1680574" y="1436014"/>
                  <a:pt x="1680008" y="1439816"/>
                </a:cubicBezTo>
                <a:lnTo>
                  <a:pt x="1679509" y="1439783"/>
                </a:lnTo>
                <a:lnTo>
                  <a:pt x="1679483" y="1440278"/>
                </a:lnTo>
                <a:lnTo>
                  <a:pt x="1662364" y="1438652"/>
                </a:lnTo>
                <a:cubicBezTo>
                  <a:pt x="1629990" y="1438125"/>
                  <a:pt x="1598110" y="1435144"/>
                  <a:pt x="1566938" y="1429590"/>
                </a:cubicBezTo>
                <a:cubicBezTo>
                  <a:pt x="1561361" y="1430009"/>
                  <a:pt x="1556032" y="1429061"/>
                  <a:pt x="1550721" y="1428050"/>
                </a:cubicBezTo>
                <a:lnTo>
                  <a:pt x="1550605" y="1426902"/>
                </a:lnTo>
                <a:cubicBezTo>
                  <a:pt x="1191754" y="1367503"/>
                  <a:pt x="910715" y="1086726"/>
                  <a:pt x="860439" y="733861"/>
                </a:cubicBezTo>
                <a:cubicBezTo>
                  <a:pt x="860272" y="733808"/>
                  <a:pt x="860103" y="733803"/>
                  <a:pt x="859934" y="733798"/>
                </a:cubicBezTo>
                <a:lnTo>
                  <a:pt x="859396" y="727122"/>
                </a:lnTo>
                <a:cubicBezTo>
                  <a:pt x="854337" y="696872"/>
                  <a:pt x="851886" y="665981"/>
                  <a:pt x="851928" y="634646"/>
                </a:cubicBezTo>
                <a:cubicBezTo>
                  <a:pt x="850616" y="629018"/>
                  <a:pt x="850558" y="623351"/>
                  <a:pt x="850558" y="617670"/>
                </a:cubicBezTo>
                <a:lnTo>
                  <a:pt x="851152" y="606230"/>
                </a:lnTo>
                <a:lnTo>
                  <a:pt x="851650" y="606263"/>
                </a:lnTo>
                <a:close/>
                <a:moveTo>
                  <a:pt x="828925" y="605769"/>
                </a:moveTo>
                <a:lnTo>
                  <a:pt x="828951" y="606263"/>
                </a:lnTo>
                <a:lnTo>
                  <a:pt x="829449" y="606230"/>
                </a:lnTo>
                <a:lnTo>
                  <a:pt x="830043" y="617670"/>
                </a:lnTo>
                <a:cubicBezTo>
                  <a:pt x="830043" y="623351"/>
                  <a:pt x="829984" y="629018"/>
                  <a:pt x="828672" y="634646"/>
                </a:cubicBezTo>
                <a:cubicBezTo>
                  <a:pt x="828714" y="665981"/>
                  <a:pt x="826264" y="696872"/>
                  <a:pt x="821205" y="727122"/>
                </a:cubicBezTo>
                <a:lnTo>
                  <a:pt x="820667" y="733798"/>
                </a:lnTo>
                <a:cubicBezTo>
                  <a:pt x="820497" y="733803"/>
                  <a:pt x="820329" y="733808"/>
                  <a:pt x="820161" y="733861"/>
                </a:cubicBezTo>
                <a:cubicBezTo>
                  <a:pt x="769886" y="1086726"/>
                  <a:pt x="488847" y="1367503"/>
                  <a:pt x="129995" y="1426902"/>
                </a:cubicBezTo>
                <a:lnTo>
                  <a:pt x="129879" y="1428050"/>
                </a:lnTo>
                <a:cubicBezTo>
                  <a:pt x="124569" y="1429061"/>
                  <a:pt x="119240" y="1430009"/>
                  <a:pt x="113663" y="1429590"/>
                </a:cubicBezTo>
                <a:cubicBezTo>
                  <a:pt x="82491" y="1435144"/>
                  <a:pt x="50611" y="1438125"/>
                  <a:pt x="18236" y="1438652"/>
                </a:cubicBezTo>
                <a:lnTo>
                  <a:pt x="1118" y="1440278"/>
                </a:lnTo>
                <a:lnTo>
                  <a:pt x="1092" y="1439783"/>
                </a:lnTo>
                <a:lnTo>
                  <a:pt x="593" y="1439816"/>
                </a:lnTo>
                <a:cubicBezTo>
                  <a:pt x="27" y="1436014"/>
                  <a:pt x="0" y="1432198"/>
                  <a:pt x="0" y="1428376"/>
                </a:cubicBezTo>
                <a:cubicBezTo>
                  <a:pt x="0" y="1422694"/>
                  <a:pt x="58" y="1417025"/>
                  <a:pt x="1370" y="1411395"/>
                </a:cubicBezTo>
                <a:cubicBezTo>
                  <a:pt x="1328" y="1380067"/>
                  <a:pt x="3778" y="1349182"/>
                  <a:pt x="8835" y="1318938"/>
                </a:cubicBezTo>
                <a:lnTo>
                  <a:pt x="9375" y="1312248"/>
                </a:lnTo>
                <a:cubicBezTo>
                  <a:pt x="9543" y="1312243"/>
                  <a:pt x="9713" y="1312238"/>
                  <a:pt x="9880" y="1312185"/>
                </a:cubicBezTo>
                <a:cubicBezTo>
                  <a:pt x="60157" y="959319"/>
                  <a:pt x="341196" y="678542"/>
                  <a:pt x="700046" y="619144"/>
                </a:cubicBezTo>
                <a:lnTo>
                  <a:pt x="700163" y="617996"/>
                </a:lnTo>
                <a:cubicBezTo>
                  <a:pt x="705472" y="616986"/>
                  <a:pt x="710800" y="616038"/>
                  <a:pt x="716376" y="616457"/>
                </a:cubicBezTo>
                <a:cubicBezTo>
                  <a:pt x="747559" y="610900"/>
                  <a:pt x="779452" y="607919"/>
                  <a:pt x="811837" y="607392"/>
                </a:cubicBezTo>
                <a:close/>
                <a:moveTo>
                  <a:pt x="8824701" y="0"/>
                </a:moveTo>
                <a:lnTo>
                  <a:pt x="9033411" y="0"/>
                </a:lnTo>
                <a:cubicBezTo>
                  <a:pt x="9066347" y="30426"/>
                  <a:pt x="9096640" y="63469"/>
                  <a:pt x="9123965" y="98781"/>
                </a:cubicBezTo>
                <a:lnTo>
                  <a:pt x="9139239" y="122382"/>
                </a:lnTo>
                <a:lnTo>
                  <a:pt x="9139239" y="425734"/>
                </a:lnTo>
                <a:lnTo>
                  <a:pt x="9104305" y="314451"/>
                </a:lnTo>
                <a:cubicBezTo>
                  <a:pt x="9046997" y="183490"/>
                  <a:pt x="8948803" y="73504"/>
                  <a:pt x="8824701" y="0"/>
                </a:cubicBezTo>
                <a:close/>
                <a:moveTo>
                  <a:pt x="8494877" y="0"/>
                </a:moveTo>
                <a:lnTo>
                  <a:pt x="8628893" y="0"/>
                </a:lnTo>
                <a:cubicBezTo>
                  <a:pt x="8697052" y="198004"/>
                  <a:pt x="8856086" y="355591"/>
                  <a:pt x="9058275" y="426756"/>
                </a:cubicBezTo>
                <a:lnTo>
                  <a:pt x="9139239" y="449526"/>
                </a:lnTo>
                <a:lnTo>
                  <a:pt x="9139239" y="577136"/>
                </a:lnTo>
                <a:lnTo>
                  <a:pt x="9043252" y="554355"/>
                </a:lnTo>
                <a:cubicBezTo>
                  <a:pt x="8776836" y="470904"/>
                  <a:pt x="8569058" y="262348"/>
                  <a:pt x="8494877" y="0"/>
                </a:cubicBezTo>
                <a:close/>
                <a:moveTo>
                  <a:pt x="7876547" y="0"/>
                </a:moveTo>
                <a:lnTo>
                  <a:pt x="8085257" y="0"/>
                </a:lnTo>
                <a:cubicBezTo>
                  <a:pt x="7919787" y="98005"/>
                  <a:pt x="7800378" y="260867"/>
                  <a:pt x="7762527" y="451830"/>
                </a:cubicBezTo>
                <a:cubicBezTo>
                  <a:pt x="8006579" y="399791"/>
                  <a:pt x="8203169" y="226290"/>
                  <a:pt x="8281065" y="0"/>
                </a:cubicBezTo>
                <a:lnTo>
                  <a:pt x="8415081" y="0"/>
                </a:lnTo>
                <a:cubicBezTo>
                  <a:pt x="8330303" y="299826"/>
                  <a:pt x="8071031" y="529393"/>
                  <a:pt x="7749156" y="582253"/>
                </a:cubicBezTo>
                <a:lnTo>
                  <a:pt x="7749040" y="583392"/>
                </a:lnTo>
                <a:cubicBezTo>
                  <a:pt x="7743729" y="584395"/>
                  <a:pt x="7738400" y="585336"/>
                  <a:pt x="7732823" y="584920"/>
                </a:cubicBezTo>
                <a:cubicBezTo>
                  <a:pt x="7701651" y="590430"/>
                  <a:pt x="7669771" y="593388"/>
                  <a:pt x="7637396" y="593911"/>
                </a:cubicBezTo>
                <a:lnTo>
                  <a:pt x="7620278" y="595524"/>
                </a:lnTo>
                <a:lnTo>
                  <a:pt x="7620252" y="595033"/>
                </a:lnTo>
                <a:lnTo>
                  <a:pt x="7619753" y="595066"/>
                </a:lnTo>
                <a:cubicBezTo>
                  <a:pt x="7619187" y="591293"/>
                  <a:pt x="7619160" y="587507"/>
                  <a:pt x="7619160" y="583715"/>
                </a:cubicBezTo>
                <a:cubicBezTo>
                  <a:pt x="7619160" y="578078"/>
                  <a:pt x="7619219" y="572454"/>
                  <a:pt x="7620531" y="566868"/>
                </a:cubicBezTo>
                <a:cubicBezTo>
                  <a:pt x="7620488" y="535786"/>
                  <a:pt x="7622938" y="505143"/>
                  <a:pt x="7627995" y="475137"/>
                </a:cubicBezTo>
                <a:lnTo>
                  <a:pt x="7628535" y="468500"/>
                </a:lnTo>
                <a:cubicBezTo>
                  <a:pt x="7628704" y="468495"/>
                  <a:pt x="7628873" y="468490"/>
                  <a:pt x="7629040" y="468437"/>
                </a:cubicBezTo>
                <a:cubicBezTo>
                  <a:pt x="7655343" y="285283"/>
                  <a:pt x="7744803" y="121704"/>
                  <a:pt x="7876547" y="0"/>
                </a:cubicBezTo>
                <a:close/>
                <a:moveTo>
                  <a:pt x="6802727" y="0"/>
                </a:moveTo>
                <a:lnTo>
                  <a:pt x="6936742" y="0"/>
                </a:lnTo>
                <a:cubicBezTo>
                  <a:pt x="7014638" y="226290"/>
                  <a:pt x="7211228" y="399791"/>
                  <a:pt x="7455280" y="451830"/>
                </a:cubicBezTo>
                <a:cubicBezTo>
                  <a:pt x="7417429" y="260867"/>
                  <a:pt x="7298020" y="98005"/>
                  <a:pt x="7132550" y="0"/>
                </a:cubicBezTo>
                <a:lnTo>
                  <a:pt x="7341259" y="0"/>
                </a:lnTo>
                <a:cubicBezTo>
                  <a:pt x="7473003" y="121704"/>
                  <a:pt x="7562464" y="285283"/>
                  <a:pt x="7588766" y="468437"/>
                </a:cubicBezTo>
                <a:cubicBezTo>
                  <a:pt x="7588934" y="468490"/>
                  <a:pt x="7589103" y="468495"/>
                  <a:pt x="7589272" y="468500"/>
                </a:cubicBezTo>
                <a:lnTo>
                  <a:pt x="7589812" y="475137"/>
                </a:lnTo>
                <a:cubicBezTo>
                  <a:pt x="7594869" y="505143"/>
                  <a:pt x="7597319" y="535786"/>
                  <a:pt x="7597276" y="566868"/>
                </a:cubicBezTo>
                <a:cubicBezTo>
                  <a:pt x="7598588" y="572454"/>
                  <a:pt x="7598647" y="578078"/>
                  <a:pt x="7598647" y="583715"/>
                </a:cubicBezTo>
                <a:cubicBezTo>
                  <a:pt x="7598647" y="587507"/>
                  <a:pt x="7598620" y="591293"/>
                  <a:pt x="7598054" y="595066"/>
                </a:cubicBezTo>
                <a:lnTo>
                  <a:pt x="7597555" y="595033"/>
                </a:lnTo>
                <a:lnTo>
                  <a:pt x="7597529" y="595524"/>
                </a:lnTo>
                <a:lnTo>
                  <a:pt x="7580411" y="593911"/>
                </a:lnTo>
                <a:cubicBezTo>
                  <a:pt x="7548036" y="593388"/>
                  <a:pt x="7516156" y="590430"/>
                  <a:pt x="7484984" y="584920"/>
                </a:cubicBezTo>
                <a:cubicBezTo>
                  <a:pt x="7479407" y="585336"/>
                  <a:pt x="7474078" y="584395"/>
                  <a:pt x="7468767" y="583392"/>
                </a:cubicBezTo>
                <a:lnTo>
                  <a:pt x="7468651" y="582253"/>
                </a:lnTo>
                <a:cubicBezTo>
                  <a:pt x="7146776" y="529393"/>
                  <a:pt x="6887504" y="299826"/>
                  <a:pt x="6802727" y="0"/>
                </a:cubicBezTo>
                <a:close/>
                <a:moveTo>
                  <a:pt x="6184397" y="0"/>
                </a:moveTo>
                <a:lnTo>
                  <a:pt x="6393106" y="0"/>
                </a:lnTo>
                <a:cubicBezTo>
                  <a:pt x="6227636" y="98005"/>
                  <a:pt x="6108227" y="260867"/>
                  <a:pt x="6070376" y="451830"/>
                </a:cubicBezTo>
                <a:cubicBezTo>
                  <a:pt x="6314429" y="399791"/>
                  <a:pt x="6511018" y="226290"/>
                  <a:pt x="6588914" y="0"/>
                </a:cubicBezTo>
                <a:lnTo>
                  <a:pt x="6722931" y="0"/>
                </a:lnTo>
                <a:cubicBezTo>
                  <a:pt x="6638152" y="299826"/>
                  <a:pt x="6378880" y="529393"/>
                  <a:pt x="6057005" y="582253"/>
                </a:cubicBezTo>
                <a:lnTo>
                  <a:pt x="6056889" y="583392"/>
                </a:lnTo>
                <a:cubicBezTo>
                  <a:pt x="6051578" y="584395"/>
                  <a:pt x="6046249" y="585336"/>
                  <a:pt x="6040672" y="584920"/>
                </a:cubicBezTo>
                <a:cubicBezTo>
                  <a:pt x="6009500" y="590430"/>
                  <a:pt x="5977620" y="593388"/>
                  <a:pt x="5945246" y="593911"/>
                </a:cubicBezTo>
                <a:lnTo>
                  <a:pt x="5928127" y="595524"/>
                </a:lnTo>
                <a:lnTo>
                  <a:pt x="5928101" y="595033"/>
                </a:lnTo>
                <a:lnTo>
                  <a:pt x="5927602" y="595066"/>
                </a:lnTo>
                <a:cubicBezTo>
                  <a:pt x="5927036" y="591293"/>
                  <a:pt x="5927009" y="587507"/>
                  <a:pt x="5927009" y="583715"/>
                </a:cubicBezTo>
                <a:cubicBezTo>
                  <a:pt x="5927009" y="578078"/>
                  <a:pt x="5927068" y="572454"/>
                  <a:pt x="5928380" y="566868"/>
                </a:cubicBezTo>
                <a:cubicBezTo>
                  <a:pt x="5928338" y="535786"/>
                  <a:pt x="5930787" y="505143"/>
                  <a:pt x="5935844" y="475137"/>
                </a:cubicBezTo>
                <a:lnTo>
                  <a:pt x="5936384" y="468500"/>
                </a:lnTo>
                <a:cubicBezTo>
                  <a:pt x="5936553" y="468495"/>
                  <a:pt x="5936722" y="468490"/>
                  <a:pt x="5936890" y="468437"/>
                </a:cubicBezTo>
                <a:cubicBezTo>
                  <a:pt x="5963192" y="285283"/>
                  <a:pt x="6052653" y="121703"/>
                  <a:pt x="6184397" y="0"/>
                </a:cubicBezTo>
                <a:close/>
                <a:moveTo>
                  <a:pt x="5110576" y="0"/>
                </a:moveTo>
                <a:lnTo>
                  <a:pt x="5244592" y="0"/>
                </a:lnTo>
                <a:cubicBezTo>
                  <a:pt x="5322488" y="226290"/>
                  <a:pt x="5519077" y="399791"/>
                  <a:pt x="5763129" y="451830"/>
                </a:cubicBezTo>
                <a:cubicBezTo>
                  <a:pt x="5725278" y="260867"/>
                  <a:pt x="5605869" y="98005"/>
                  <a:pt x="5440399" y="0"/>
                </a:cubicBezTo>
                <a:lnTo>
                  <a:pt x="5649109" y="0"/>
                </a:lnTo>
                <a:cubicBezTo>
                  <a:pt x="5780853" y="121704"/>
                  <a:pt x="5870314" y="285283"/>
                  <a:pt x="5896616" y="468437"/>
                </a:cubicBezTo>
                <a:cubicBezTo>
                  <a:pt x="5896783" y="468490"/>
                  <a:pt x="5896953" y="468495"/>
                  <a:pt x="5897121" y="468500"/>
                </a:cubicBezTo>
                <a:lnTo>
                  <a:pt x="5897662" y="475137"/>
                </a:lnTo>
                <a:cubicBezTo>
                  <a:pt x="5902718" y="505143"/>
                  <a:pt x="5905168" y="535786"/>
                  <a:pt x="5905126" y="566868"/>
                </a:cubicBezTo>
                <a:cubicBezTo>
                  <a:pt x="5906438" y="572454"/>
                  <a:pt x="5906496" y="578078"/>
                  <a:pt x="5906496" y="583715"/>
                </a:cubicBezTo>
                <a:cubicBezTo>
                  <a:pt x="5906496" y="587507"/>
                  <a:pt x="5906469" y="591293"/>
                  <a:pt x="5905903" y="595066"/>
                </a:cubicBezTo>
                <a:lnTo>
                  <a:pt x="5905404" y="595033"/>
                </a:lnTo>
                <a:lnTo>
                  <a:pt x="5905378" y="595524"/>
                </a:lnTo>
                <a:lnTo>
                  <a:pt x="5888260" y="593911"/>
                </a:lnTo>
                <a:cubicBezTo>
                  <a:pt x="5855886" y="593388"/>
                  <a:pt x="5824005" y="590430"/>
                  <a:pt x="5792833" y="584920"/>
                </a:cubicBezTo>
                <a:cubicBezTo>
                  <a:pt x="5787256" y="585336"/>
                  <a:pt x="5781927" y="584395"/>
                  <a:pt x="5776617" y="583392"/>
                </a:cubicBezTo>
                <a:lnTo>
                  <a:pt x="5776501" y="582253"/>
                </a:lnTo>
                <a:cubicBezTo>
                  <a:pt x="5454626" y="529393"/>
                  <a:pt x="5195354" y="299826"/>
                  <a:pt x="5110576" y="0"/>
                </a:cubicBezTo>
                <a:close/>
                <a:moveTo>
                  <a:pt x="4492246" y="0"/>
                </a:moveTo>
                <a:lnTo>
                  <a:pt x="4700955" y="0"/>
                </a:lnTo>
                <a:cubicBezTo>
                  <a:pt x="4535485" y="98005"/>
                  <a:pt x="4416076" y="260867"/>
                  <a:pt x="4378225" y="451830"/>
                </a:cubicBezTo>
                <a:cubicBezTo>
                  <a:pt x="4622279" y="399791"/>
                  <a:pt x="4818867" y="226290"/>
                  <a:pt x="4896763" y="0"/>
                </a:cubicBezTo>
                <a:lnTo>
                  <a:pt x="5030779" y="0"/>
                </a:lnTo>
                <a:cubicBezTo>
                  <a:pt x="4946001" y="299826"/>
                  <a:pt x="4686729" y="529393"/>
                  <a:pt x="4364853" y="582253"/>
                </a:cubicBezTo>
                <a:lnTo>
                  <a:pt x="4364737" y="583392"/>
                </a:lnTo>
                <a:cubicBezTo>
                  <a:pt x="4359427" y="584395"/>
                  <a:pt x="4354098" y="585336"/>
                  <a:pt x="4348521" y="584920"/>
                </a:cubicBezTo>
                <a:cubicBezTo>
                  <a:pt x="4317350" y="590430"/>
                  <a:pt x="4285468" y="593388"/>
                  <a:pt x="4253094" y="593911"/>
                </a:cubicBezTo>
                <a:lnTo>
                  <a:pt x="4235976" y="595524"/>
                </a:lnTo>
                <a:lnTo>
                  <a:pt x="4235950" y="595033"/>
                </a:lnTo>
                <a:lnTo>
                  <a:pt x="4235451" y="595066"/>
                </a:lnTo>
                <a:cubicBezTo>
                  <a:pt x="4234885" y="591293"/>
                  <a:pt x="4234858" y="587507"/>
                  <a:pt x="4234858" y="583715"/>
                </a:cubicBezTo>
                <a:cubicBezTo>
                  <a:pt x="4234858" y="578078"/>
                  <a:pt x="4234916" y="572454"/>
                  <a:pt x="4236228" y="566868"/>
                </a:cubicBezTo>
                <a:cubicBezTo>
                  <a:pt x="4236186" y="535786"/>
                  <a:pt x="4238636" y="505143"/>
                  <a:pt x="4243692" y="475137"/>
                </a:cubicBezTo>
                <a:lnTo>
                  <a:pt x="4244233" y="468500"/>
                </a:lnTo>
                <a:cubicBezTo>
                  <a:pt x="4244401" y="468495"/>
                  <a:pt x="4244571" y="468490"/>
                  <a:pt x="4244738" y="468437"/>
                </a:cubicBezTo>
                <a:cubicBezTo>
                  <a:pt x="4271041" y="285283"/>
                  <a:pt x="4360502" y="121704"/>
                  <a:pt x="4492246" y="0"/>
                </a:cubicBezTo>
                <a:close/>
                <a:moveTo>
                  <a:pt x="3418424" y="0"/>
                </a:moveTo>
                <a:lnTo>
                  <a:pt x="3552441" y="0"/>
                </a:lnTo>
                <a:cubicBezTo>
                  <a:pt x="3630337" y="226291"/>
                  <a:pt x="3826926" y="399791"/>
                  <a:pt x="4070978" y="451830"/>
                </a:cubicBezTo>
                <a:cubicBezTo>
                  <a:pt x="4033127" y="260867"/>
                  <a:pt x="3913719" y="98005"/>
                  <a:pt x="3748249" y="0"/>
                </a:cubicBezTo>
                <a:lnTo>
                  <a:pt x="3956957" y="0"/>
                </a:lnTo>
                <a:cubicBezTo>
                  <a:pt x="4088702" y="121703"/>
                  <a:pt x="4178162" y="285283"/>
                  <a:pt x="4204464" y="468437"/>
                </a:cubicBezTo>
                <a:cubicBezTo>
                  <a:pt x="4204632" y="468490"/>
                  <a:pt x="4204801" y="468495"/>
                  <a:pt x="4204970" y="468499"/>
                </a:cubicBezTo>
                <a:lnTo>
                  <a:pt x="4205510" y="475137"/>
                </a:lnTo>
                <a:cubicBezTo>
                  <a:pt x="4210567" y="505143"/>
                  <a:pt x="4213016" y="535786"/>
                  <a:pt x="4212974" y="566868"/>
                </a:cubicBezTo>
                <a:cubicBezTo>
                  <a:pt x="4214286" y="572454"/>
                  <a:pt x="4214345" y="578078"/>
                  <a:pt x="4214345" y="583715"/>
                </a:cubicBezTo>
                <a:cubicBezTo>
                  <a:pt x="4214345" y="587508"/>
                  <a:pt x="4214318" y="591293"/>
                  <a:pt x="4213752" y="595066"/>
                </a:cubicBezTo>
                <a:lnTo>
                  <a:pt x="4213253" y="595033"/>
                </a:lnTo>
                <a:lnTo>
                  <a:pt x="4213227" y="595524"/>
                </a:lnTo>
                <a:lnTo>
                  <a:pt x="4196108" y="593911"/>
                </a:lnTo>
                <a:cubicBezTo>
                  <a:pt x="4163734" y="593388"/>
                  <a:pt x="4131854" y="590430"/>
                  <a:pt x="4100682" y="584920"/>
                </a:cubicBezTo>
                <a:cubicBezTo>
                  <a:pt x="4095105" y="585336"/>
                  <a:pt x="4089776" y="584395"/>
                  <a:pt x="4084465" y="583392"/>
                </a:cubicBezTo>
                <a:lnTo>
                  <a:pt x="4084349" y="582253"/>
                </a:lnTo>
                <a:cubicBezTo>
                  <a:pt x="3762475" y="529393"/>
                  <a:pt x="3503203" y="299826"/>
                  <a:pt x="3418424" y="0"/>
                </a:cubicBezTo>
                <a:close/>
                <a:moveTo>
                  <a:pt x="2800095" y="0"/>
                </a:moveTo>
                <a:lnTo>
                  <a:pt x="3008804" y="0"/>
                </a:lnTo>
                <a:cubicBezTo>
                  <a:pt x="2843334" y="98005"/>
                  <a:pt x="2723925" y="260867"/>
                  <a:pt x="2686074" y="451830"/>
                </a:cubicBezTo>
                <a:cubicBezTo>
                  <a:pt x="2930126" y="399791"/>
                  <a:pt x="3126716" y="226291"/>
                  <a:pt x="3204612" y="0"/>
                </a:cubicBezTo>
                <a:lnTo>
                  <a:pt x="3338628" y="0"/>
                </a:lnTo>
                <a:cubicBezTo>
                  <a:pt x="3253850" y="299826"/>
                  <a:pt x="2994578" y="529393"/>
                  <a:pt x="2672703" y="582253"/>
                </a:cubicBezTo>
                <a:lnTo>
                  <a:pt x="2672586" y="583392"/>
                </a:lnTo>
                <a:cubicBezTo>
                  <a:pt x="2667276" y="584395"/>
                  <a:pt x="2661947" y="585336"/>
                  <a:pt x="2656370" y="584920"/>
                </a:cubicBezTo>
                <a:cubicBezTo>
                  <a:pt x="2625198" y="590430"/>
                  <a:pt x="2593318" y="593388"/>
                  <a:pt x="2560943" y="593911"/>
                </a:cubicBezTo>
                <a:lnTo>
                  <a:pt x="2543825" y="595524"/>
                </a:lnTo>
                <a:lnTo>
                  <a:pt x="2543799" y="595033"/>
                </a:lnTo>
                <a:lnTo>
                  <a:pt x="2543300" y="595066"/>
                </a:lnTo>
                <a:cubicBezTo>
                  <a:pt x="2542734" y="591293"/>
                  <a:pt x="2542707" y="587507"/>
                  <a:pt x="2542707" y="583715"/>
                </a:cubicBezTo>
                <a:cubicBezTo>
                  <a:pt x="2542707" y="578078"/>
                  <a:pt x="2542765" y="572454"/>
                  <a:pt x="2544077" y="566868"/>
                </a:cubicBezTo>
                <a:cubicBezTo>
                  <a:pt x="2544035" y="535786"/>
                  <a:pt x="2546485" y="505143"/>
                  <a:pt x="2551541" y="475137"/>
                </a:cubicBezTo>
                <a:lnTo>
                  <a:pt x="2552082" y="468499"/>
                </a:lnTo>
                <a:cubicBezTo>
                  <a:pt x="2552250" y="468495"/>
                  <a:pt x="2552420" y="468490"/>
                  <a:pt x="2552587" y="468437"/>
                </a:cubicBezTo>
                <a:cubicBezTo>
                  <a:pt x="2578890" y="285283"/>
                  <a:pt x="2668350" y="121703"/>
                  <a:pt x="2800095" y="0"/>
                </a:cubicBezTo>
                <a:close/>
                <a:moveTo>
                  <a:pt x="1726273" y="0"/>
                </a:moveTo>
                <a:lnTo>
                  <a:pt x="1860290" y="0"/>
                </a:lnTo>
                <a:cubicBezTo>
                  <a:pt x="1938186" y="226291"/>
                  <a:pt x="2134775" y="399791"/>
                  <a:pt x="2378827" y="451830"/>
                </a:cubicBezTo>
                <a:cubicBezTo>
                  <a:pt x="2340976" y="260867"/>
                  <a:pt x="2221567" y="98005"/>
                  <a:pt x="2056098" y="0"/>
                </a:cubicBezTo>
                <a:lnTo>
                  <a:pt x="2264806" y="0"/>
                </a:lnTo>
                <a:cubicBezTo>
                  <a:pt x="2396551" y="121703"/>
                  <a:pt x="2486011" y="285283"/>
                  <a:pt x="2512313" y="468437"/>
                </a:cubicBezTo>
                <a:cubicBezTo>
                  <a:pt x="2512481" y="468490"/>
                  <a:pt x="2512650" y="468495"/>
                  <a:pt x="2512819" y="468499"/>
                </a:cubicBezTo>
                <a:lnTo>
                  <a:pt x="2513359" y="475137"/>
                </a:lnTo>
                <a:cubicBezTo>
                  <a:pt x="2518416" y="505143"/>
                  <a:pt x="2520865" y="535786"/>
                  <a:pt x="2520823" y="566868"/>
                </a:cubicBezTo>
                <a:cubicBezTo>
                  <a:pt x="2522135" y="572454"/>
                  <a:pt x="2522194" y="578078"/>
                  <a:pt x="2522194" y="583715"/>
                </a:cubicBezTo>
                <a:cubicBezTo>
                  <a:pt x="2522194" y="587508"/>
                  <a:pt x="2522167" y="591293"/>
                  <a:pt x="2521601" y="595066"/>
                </a:cubicBezTo>
                <a:lnTo>
                  <a:pt x="2521102" y="595033"/>
                </a:lnTo>
                <a:lnTo>
                  <a:pt x="2521076" y="595524"/>
                </a:lnTo>
                <a:lnTo>
                  <a:pt x="2503957" y="593911"/>
                </a:lnTo>
                <a:cubicBezTo>
                  <a:pt x="2471583" y="593388"/>
                  <a:pt x="2439703" y="590430"/>
                  <a:pt x="2408531" y="584920"/>
                </a:cubicBezTo>
                <a:cubicBezTo>
                  <a:pt x="2402954" y="585336"/>
                  <a:pt x="2397625" y="584395"/>
                  <a:pt x="2392314" y="583392"/>
                </a:cubicBezTo>
                <a:lnTo>
                  <a:pt x="2392198" y="582253"/>
                </a:lnTo>
                <a:cubicBezTo>
                  <a:pt x="2070324" y="529393"/>
                  <a:pt x="1811051" y="299826"/>
                  <a:pt x="1726273" y="0"/>
                </a:cubicBezTo>
                <a:close/>
                <a:moveTo>
                  <a:pt x="1107944" y="0"/>
                </a:moveTo>
                <a:lnTo>
                  <a:pt x="1316652" y="0"/>
                </a:lnTo>
                <a:cubicBezTo>
                  <a:pt x="1151183" y="98005"/>
                  <a:pt x="1031774" y="260867"/>
                  <a:pt x="993923" y="451830"/>
                </a:cubicBezTo>
                <a:cubicBezTo>
                  <a:pt x="1237975" y="399791"/>
                  <a:pt x="1434564" y="226291"/>
                  <a:pt x="1512461" y="0"/>
                </a:cubicBezTo>
                <a:lnTo>
                  <a:pt x="1646477" y="0"/>
                </a:lnTo>
                <a:cubicBezTo>
                  <a:pt x="1561699" y="299826"/>
                  <a:pt x="1302427" y="529393"/>
                  <a:pt x="980552" y="582253"/>
                </a:cubicBezTo>
                <a:lnTo>
                  <a:pt x="980435" y="583392"/>
                </a:lnTo>
                <a:cubicBezTo>
                  <a:pt x="975125" y="584395"/>
                  <a:pt x="969796" y="585336"/>
                  <a:pt x="964219" y="584920"/>
                </a:cubicBezTo>
                <a:cubicBezTo>
                  <a:pt x="933047" y="590430"/>
                  <a:pt x="901167" y="593388"/>
                  <a:pt x="868792" y="593911"/>
                </a:cubicBezTo>
                <a:lnTo>
                  <a:pt x="851674" y="595524"/>
                </a:lnTo>
                <a:lnTo>
                  <a:pt x="851648" y="595033"/>
                </a:lnTo>
                <a:lnTo>
                  <a:pt x="851149" y="595066"/>
                </a:lnTo>
                <a:cubicBezTo>
                  <a:pt x="850583" y="591293"/>
                  <a:pt x="850556" y="587507"/>
                  <a:pt x="850556" y="583715"/>
                </a:cubicBezTo>
                <a:cubicBezTo>
                  <a:pt x="850556" y="578078"/>
                  <a:pt x="850614" y="572454"/>
                  <a:pt x="851926" y="566868"/>
                </a:cubicBezTo>
                <a:cubicBezTo>
                  <a:pt x="851884" y="535786"/>
                  <a:pt x="854334" y="505143"/>
                  <a:pt x="859390" y="475137"/>
                </a:cubicBezTo>
                <a:lnTo>
                  <a:pt x="859931" y="468499"/>
                </a:lnTo>
                <a:cubicBezTo>
                  <a:pt x="860099" y="468495"/>
                  <a:pt x="860269" y="468490"/>
                  <a:pt x="860436" y="468437"/>
                </a:cubicBezTo>
                <a:cubicBezTo>
                  <a:pt x="886739" y="285283"/>
                  <a:pt x="976199" y="121704"/>
                  <a:pt x="1107944" y="0"/>
                </a:cubicBezTo>
                <a:close/>
                <a:moveTo>
                  <a:pt x="34122" y="0"/>
                </a:moveTo>
                <a:lnTo>
                  <a:pt x="168138" y="0"/>
                </a:lnTo>
                <a:cubicBezTo>
                  <a:pt x="246034" y="226290"/>
                  <a:pt x="442624" y="399791"/>
                  <a:pt x="686676" y="451830"/>
                </a:cubicBezTo>
                <a:cubicBezTo>
                  <a:pt x="648825" y="260867"/>
                  <a:pt x="529416" y="98005"/>
                  <a:pt x="363946" y="0"/>
                </a:cubicBezTo>
                <a:lnTo>
                  <a:pt x="572655" y="0"/>
                </a:lnTo>
                <a:cubicBezTo>
                  <a:pt x="704400" y="121703"/>
                  <a:pt x="793860" y="285283"/>
                  <a:pt x="820162" y="468437"/>
                </a:cubicBezTo>
                <a:cubicBezTo>
                  <a:pt x="820330" y="468490"/>
                  <a:pt x="820499" y="468495"/>
                  <a:pt x="820668" y="468500"/>
                </a:cubicBezTo>
                <a:lnTo>
                  <a:pt x="821208" y="475137"/>
                </a:lnTo>
                <a:cubicBezTo>
                  <a:pt x="826265" y="505143"/>
                  <a:pt x="828714" y="535786"/>
                  <a:pt x="828672" y="566868"/>
                </a:cubicBezTo>
                <a:cubicBezTo>
                  <a:pt x="829984" y="572454"/>
                  <a:pt x="830043" y="578078"/>
                  <a:pt x="830043" y="583715"/>
                </a:cubicBezTo>
                <a:cubicBezTo>
                  <a:pt x="830043" y="587508"/>
                  <a:pt x="830016" y="591293"/>
                  <a:pt x="829450" y="595066"/>
                </a:cubicBezTo>
                <a:lnTo>
                  <a:pt x="828951" y="595033"/>
                </a:lnTo>
                <a:lnTo>
                  <a:pt x="828925" y="595524"/>
                </a:lnTo>
                <a:lnTo>
                  <a:pt x="811806" y="593911"/>
                </a:lnTo>
                <a:cubicBezTo>
                  <a:pt x="779432" y="593388"/>
                  <a:pt x="747552" y="590430"/>
                  <a:pt x="716380" y="584920"/>
                </a:cubicBezTo>
                <a:cubicBezTo>
                  <a:pt x="710803" y="585336"/>
                  <a:pt x="705474" y="584395"/>
                  <a:pt x="700163" y="583392"/>
                </a:cubicBezTo>
                <a:lnTo>
                  <a:pt x="700047" y="582253"/>
                </a:lnTo>
                <a:cubicBezTo>
                  <a:pt x="378172" y="529393"/>
                  <a:pt x="118900" y="299826"/>
                  <a:pt x="3412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342900" y="4960137"/>
            <a:ext cx="5829300" cy="1463040"/>
          </a:xfrm>
        </p:spPr>
        <p:txBody>
          <a:bodyPr anchor="ctr">
            <a:normAutofit/>
          </a:bodyPr>
          <a:lstStyle>
            <a:lvl1pPr algn="r">
              <a:defRPr sz="4400" b="0" spc="200" baseline="0"/>
            </a:lvl1pPr>
          </a:lstStyle>
          <a:p>
            <a:r>
              <a:rPr lang="en-US" smtClean="0"/>
              <a:t>Click to edit Master title style</a:t>
            </a:r>
            <a:endParaRPr lang="en-US" dirty="0"/>
          </a:p>
        </p:txBody>
      </p:sp>
      <p:sp>
        <p:nvSpPr>
          <p:cNvPr id="3" name="Text Placeholder 2"/>
          <p:cNvSpPr>
            <a:spLocks noGrp="1"/>
          </p:cNvSpPr>
          <p:nvPr>
            <p:ph type="body" idx="1"/>
          </p:nvPr>
        </p:nvSpPr>
        <p:spPr>
          <a:xfrm>
            <a:off x="6457950" y="4960137"/>
            <a:ext cx="2400300" cy="1463040"/>
          </a:xfrm>
        </p:spPr>
        <p:txBody>
          <a:bodyPr lIns="91440" rIns="91440" anchor="ctr">
            <a:normAutofit/>
          </a:bodyPr>
          <a:lstStyle>
            <a:lvl1pPr marL="0" indent="0">
              <a:lnSpc>
                <a:spcPct val="100000"/>
              </a:lnSpc>
              <a:spcBef>
                <a:spcPts val="0"/>
              </a:spcBef>
              <a:buNone/>
              <a:defRPr sz="1600">
                <a:solidFill>
                  <a:schemeClr val="tx1">
                    <a:lumMod val="95000"/>
                    <a:lumOff val="5000"/>
                  </a:schemeClr>
                </a:solidFill>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ltLang="en-US"/>
          </a:p>
        </p:txBody>
      </p:sp>
      <p:sp>
        <p:nvSpPr>
          <p:cNvPr id="5" name="Footer Placeholder 4"/>
          <p:cNvSpPr>
            <a:spLocks noGrp="1"/>
          </p:cNvSpPr>
          <p:nvPr>
            <p:ph type="ftr" sz="quarter" idx="11"/>
          </p:nvPr>
        </p:nvSpPr>
        <p:spPr/>
        <p:txBody>
          <a:bodyPr/>
          <a:lstStyle/>
          <a:p>
            <a:endParaRPr lang="en-US" altLang="en-US"/>
          </a:p>
        </p:txBody>
      </p:sp>
      <p:sp>
        <p:nvSpPr>
          <p:cNvPr id="6" name="Slide Number Placeholder 5"/>
          <p:cNvSpPr>
            <a:spLocks noGrp="1"/>
          </p:cNvSpPr>
          <p:nvPr>
            <p:ph type="sldNum" sz="quarter" idx="12"/>
          </p:nvPr>
        </p:nvSpPr>
        <p:spPr/>
        <p:txBody>
          <a:bodyPr/>
          <a:lstStyle/>
          <a:p>
            <a:fld id="{33F153AE-6C89-4FE0-9573-272091DFEFE7}" type="slidenum">
              <a:rPr lang="en-US" altLang="en-US" smtClean="0"/>
              <a:pPr/>
              <a:t>‹#›</a:t>
            </a:fld>
            <a:endParaRPr lang="en-US" altLang="en-US"/>
          </a:p>
        </p:txBody>
      </p:sp>
      <p:cxnSp>
        <p:nvCxnSpPr>
          <p:cNvPr id="8" name="Straight Connector 7"/>
          <p:cNvCxnSpPr/>
          <p:nvPr/>
        </p:nvCxnSpPr>
        <p:spPr>
          <a:xfrm flipV="1">
            <a:off x="6290132"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12392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68096" y="585216"/>
            <a:ext cx="7290054" cy="1499616"/>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768096" y="2286000"/>
            <a:ext cx="3566160" cy="40233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491990" y="2286000"/>
            <a:ext cx="3566160" cy="40233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endParaRPr lang="en-US" altLang="en-US"/>
          </a:p>
        </p:txBody>
      </p:sp>
      <p:sp>
        <p:nvSpPr>
          <p:cNvPr id="6" name="Footer Placeholder 5"/>
          <p:cNvSpPr>
            <a:spLocks noGrp="1"/>
          </p:cNvSpPr>
          <p:nvPr>
            <p:ph type="ftr" sz="quarter" idx="11"/>
          </p:nvPr>
        </p:nvSpPr>
        <p:spPr/>
        <p:txBody>
          <a:bodyPr/>
          <a:lstStyle/>
          <a:p>
            <a:endParaRPr lang="en-US" altLang="en-US"/>
          </a:p>
        </p:txBody>
      </p:sp>
      <p:sp>
        <p:nvSpPr>
          <p:cNvPr id="7" name="Slide Number Placeholder 6"/>
          <p:cNvSpPr>
            <a:spLocks noGrp="1"/>
          </p:cNvSpPr>
          <p:nvPr>
            <p:ph type="sldNum" sz="quarter" idx="12"/>
          </p:nvPr>
        </p:nvSpPr>
        <p:spPr/>
        <p:txBody>
          <a:bodyPr/>
          <a:lstStyle/>
          <a:p>
            <a:fld id="{52F8F333-16FE-4BE4-B889-896B1DCA6EB6}" type="slidenum">
              <a:rPr lang="en-US" altLang="en-US" smtClean="0"/>
              <a:pPr/>
              <a:t>‹#›</a:t>
            </a:fld>
            <a:endParaRPr lang="en-US" altLang="en-US"/>
          </a:p>
        </p:txBody>
      </p:sp>
    </p:spTree>
    <p:extLst>
      <p:ext uri="{BB962C8B-B14F-4D97-AF65-F5344CB8AC3E}">
        <p14:creationId xmlns:p14="http://schemas.microsoft.com/office/powerpoint/2010/main" val="3536600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768096" y="585216"/>
            <a:ext cx="7290054" cy="1499616"/>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768096" y="2179636"/>
            <a:ext cx="3566160" cy="822960"/>
          </a:xfrm>
        </p:spPr>
        <p:txBody>
          <a:bodyPr lIns="137160" rIns="137160" anchor="ctr">
            <a:normAutofit/>
          </a:bodyPr>
          <a:lstStyle>
            <a:lvl1pPr marL="0" indent="0">
              <a:spcBef>
                <a:spcPts val="0"/>
              </a:spcBef>
              <a:spcAft>
                <a:spcPts val="0"/>
              </a:spcAft>
              <a:buNone/>
              <a:defRPr sz="22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768096" y="2967788"/>
            <a:ext cx="3566160" cy="33415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491990" y="2179636"/>
            <a:ext cx="3566160" cy="822960"/>
          </a:xfrm>
        </p:spPr>
        <p:txBody>
          <a:bodyPr lIns="137160" rIns="137160" anchor="ctr">
            <a:normAutofit/>
          </a:bodyPr>
          <a:lstStyle>
            <a:lvl1pPr marL="0" indent="0">
              <a:spcBef>
                <a:spcPts val="0"/>
              </a:spcBef>
              <a:spcAft>
                <a:spcPts val="0"/>
              </a:spcAft>
              <a:buNone/>
              <a:defRPr lang="en-US" sz="2200" b="0" kern="1200" cap="none" baseline="0" dirty="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smtClean="0"/>
              <a:t>Click to edit Master text styles</a:t>
            </a:r>
          </a:p>
        </p:txBody>
      </p:sp>
      <p:sp>
        <p:nvSpPr>
          <p:cNvPr id="6" name="Content Placeholder 5"/>
          <p:cNvSpPr>
            <a:spLocks noGrp="1"/>
          </p:cNvSpPr>
          <p:nvPr>
            <p:ph sz="quarter" idx="4"/>
          </p:nvPr>
        </p:nvSpPr>
        <p:spPr>
          <a:xfrm>
            <a:off x="4491990" y="2967788"/>
            <a:ext cx="3566160" cy="33415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endParaRPr lang="en-US" altLang="en-US"/>
          </a:p>
        </p:txBody>
      </p:sp>
      <p:sp>
        <p:nvSpPr>
          <p:cNvPr id="8" name="Footer Placeholder 7"/>
          <p:cNvSpPr>
            <a:spLocks noGrp="1"/>
          </p:cNvSpPr>
          <p:nvPr>
            <p:ph type="ftr" sz="quarter" idx="11"/>
          </p:nvPr>
        </p:nvSpPr>
        <p:spPr/>
        <p:txBody>
          <a:bodyPr/>
          <a:lstStyle/>
          <a:p>
            <a:endParaRPr lang="en-US" altLang="en-US"/>
          </a:p>
        </p:txBody>
      </p:sp>
      <p:sp>
        <p:nvSpPr>
          <p:cNvPr id="9" name="Slide Number Placeholder 8"/>
          <p:cNvSpPr>
            <a:spLocks noGrp="1"/>
          </p:cNvSpPr>
          <p:nvPr>
            <p:ph type="sldNum" sz="quarter" idx="12"/>
          </p:nvPr>
        </p:nvSpPr>
        <p:spPr/>
        <p:txBody>
          <a:bodyPr/>
          <a:lstStyle/>
          <a:p>
            <a:fld id="{B6F863DB-0EAA-4942-A015-6F15CB94D983}" type="slidenum">
              <a:rPr lang="en-US" altLang="en-US" smtClean="0"/>
              <a:pPr/>
              <a:t>‹#›</a:t>
            </a:fld>
            <a:endParaRPr lang="en-US" altLang="en-US"/>
          </a:p>
        </p:txBody>
      </p:sp>
    </p:spTree>
    <p:extLst>
      <p:ext uri="{BB962C8B-B14F-4D97-AF65-F5344CB8AC3E}">
        <p14:creationId xmlns:p14="http://schemas.microsoft.com/office/powerpoint/2010/main" val="31125550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endParaRPr lang="en-US" altLang="en-US"/>
          </a:p>
        </p:txBody>
      </p:sp>
      <p:sp>
        <p:nvSpPr>
          <p:cNvPr id="4" name="Footer Placeholder 3"/>
          <p:cNvSpPr>
            <a:spLocks noGrp="1"/>
          </p:cNvSpPr>
          <p:nvPr>
            <p:ph type="ftr" sz="quarter" idx="11"/>
          </p:nvPr>
        </p:nvSpPr>
        <p:spPr/>
        <p:txBody>
          <a:bodyPr/>
          <a:lstStyle/>
          <a:p>
            <a:endParaRPr lang="en-US" altLang="en-US"/>
          </a:p>
        </p:txBody>
      </p:sp>
      <p:sp>
        <p:nvSpPr>
          <p:cNvPr id="5" name="Slide Number Placeholder 4"/>
          <p:cNvSpPr>
            <a:spLocks noGrp="1"/>
          </p:cNvSpPr>
          <p:nvPr>
            <p:ph type="sldNum" sz="quarter" idx="12"/>
          </p:nvPr>
        </p:nvSpPr>
        <p:spPr/>
        <p:txBody>
          <a:bodyPr/>
          <a:lstStyle/>
          <a:p>
            <a:fld id="{44D8CDD4-8036-4D86-B2B7-37F82D0453D2}" type="slidenum">
              <a:rPr lang="en-US" altLang="en-US" smtClean="0"/>
              <a:pPr/>
              <a:t>‹#›</a:t>
            </a:fld>
            <a:endParaRPr lang="en-US" altLang="en-US"/>
          </a:p>
        </p:txBody>
      </p:sp>
    </p:spTree>
    <p:extLst>
      <p:ext uri="{BB962C8B-B14F-4D97-AF65-F5344CB8AC3E}">
        <p14:creationId xmlns:p14="http://schemas.microsoft.com/office/powerpoint/2010/main" val="27063391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ltLang="en-US"/>
          </a:p>
        </p:txBody>
      </p:sp>
      <p:sp>
        <p:nvSpPr>
          <p:cNvPr id="3" name="Footer Placeholder 2"/>
          <p:cNvSpPr>
            <a:spLocks noGrp="1"/>
          </p:cNvSpPr>
          <p:nvPr>
            <p:ph type="ftr" sz="quarter" idx="11"/>
          </p:nvPr>
        </p:nvSpPr>
        <p:spPr/>
        <p:txBody>
          <a:bodyPr/>
          <a:lstStyle/>
          <a:p>
            <a:endParaRPr lang="en-US" altLang="en-US"/>
          </a:p>
        </p:txBody>
      </p:sp>
      <p:sp>
        <p:nvSpPr>
          <p:cNvPr id="4" name="Slide Number Placeholder 3"/>
          <p:cNvSpPr>
            <a:spLocks noGrp="1"/>
          </p:cNvSpPr>
          <p:nvPr>
            <p:ph type="sldNum" sz="quarter" idx="12"/>
          </p:nvPr>
        </p:nvSpPr>
        <p:spPr/>
        <p:txBody>
          <a:bodyPr/>
          <a:lstStyle/>
          <a:p>
            <a:fld id="{040A9AF8-1916-4D9A-92FA-08F72EE63881}" type="slidenum">
              <a:rPr lang="en-US" altLang="en-US" smtClean="0"/>
              <a:pPr/>
              <a:t>‹#›</a:t>
            </a:fld>
            <a:endParaRPr lang="en-US" altLang="en-US"/>
          </a:p>
        </p:txBody>
      </p:sp>
    </p:spTree>
    <p:extLst>
      <p:ext uri="{BB962C8B-B14F-4D97-AF65-F5344CB8AC3E}">
        <p14:creationId xmlns:p14="http://schemas.microsoft.com/office/powerpoint/2010/main" val="3252879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768096" y="471509"/>
            <a:ext cx="3291840" cy="1737360"/>
          </a:xfrm>
        </p:spPr>
        <p:txBody>
          <a:bodyPr>
            <a:noAutofit/>
          </a:bodyPr>
          <a:lstStyle>
            <a:lvl1pPr>
              <a:lnSpc>
                <a:spcPct val="80000"/>
              </a:lnSpc>
              <a:defRPr sz="3600"/>
            </a:lvl1pPr>
          </a:lstStyle>
          <a:p>
            <a:r>
              <a:rPr lang="en-US" smtClean="0"/>
              <a:t>Click to edit Master title style</a:t>
            </a:r>
            <a:endParaRPr lang="en-US" dirty="0"/>
          </a:p>
        </p:txBody>
      </p:sp>
      <p:sp>
        <p:nvSpPr>
          <p:cNvPr id="3" name="Content Placeholder 2"/>
          <p:cNvSpPr>
            <a:spLocks noGrp="1"/>
          </p:cNvSpPr>
          <p:nvPr>
            <p:ph idx="1"/>
          </p:nvPr>
        </p:nvSpPr>
        <p:spPr>
          <a:xfrm>
            <a:off x="4286250" y="822960"/>
            <a:ext cx="4258818" cy="5184648"/>
          </a:xfrm>
        </p:spPr>
        <p:txBody>
          <a:bodyPr>
            <a:normAutofit/>
          </a:bodyPr>
          <a:lstStyle>
            <a:lvl1pPr>
              <a:defRPr sz="2000"/>
            </a:lvl1pPr>
            <a:lvl2pPr>
              <a:defRPr sz="16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768096" y="2257506"/>
            <a:ext cx="3291840" cy="3762294"/>
          </a:xfrm>
        </p:spPr>
        <p:txBody>
          <a:bodyPr lIns="91440" rIns="91440">
            <a:normAutofit/>
          </a:bodyPr>
          <a:lstStyle>
            <a:lvl1pPr marL="0" indent="0">
              <a:lnSpc>
                <a:spcPct val="108000"/>
              </a:lnSpc>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ltLang="en-US"/>
          </a:p>
        </p:txBody>
      </p:sp>
      <p:sp>
        <p:nvSpPr>
          <p:cNvPr id="6" name="Footer Placeholder 5"/>
          <p:cNvSpPr>
            <a:spLocks noGrp="1"/>
          </p:cNvSpPr>
          <p:nvPr>
            <p:ph type="ftr" sz="quarter" idx="11"/>
          </p:nvPr>
        </p:nvSpPr>
        <p:spPr/>
        <p:txBody>
          <a:bodyPr/>
          <a:lstStyle/>
          <a:p>
            <a:endParaRPr lang="en-US" altLang="en-US"/>
          </a:p>
        </p:txBody>
      </p:sp>
      <p:sp>
        <p:nvSpPr>
          <p:cNvPr id="7" name="Slide Number Placeholder 6"/>
          <p:cNvSpPr>
            <a:spLocks noGrp="1"/>
          </p:cNvSpPr>
          <p:nvPr>
            <p:ph type="sldNum" sz="quarter" idx="12"/>
          </p:nvPr>
        </p:nvSpPr>
        <p:spPr/>
        <p:txBody>
          <a:bodyPr/>
          <a:lstStyle/>
          <a:p>
            <a:fld id="{4120F806-A675-48E9-A21F-619E25DC333C}" type="slidenum">
              <a:rPr lang="en-US" altLang="en-US" smtClean="0"/>
              <a:pPr/>
              <a:t>‹#›</a:t>
            </a:fld>
            <a:endParaRPr lang="en-US" altLang="en-US"/>
          </a:p>
        </p:txBody>
      </p:sp>
    </p:spTree>
    <p:extLst>
      <p:ext uri="{BB962C8B-B14F-4D97-AF65-F5344CB8AC3E}">
        <p14:creationId xmlns:p14="http://schemas.microsoft.com/office/powerpoint/2010/main" val="549589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0" y="4960138"/>
            <a:ext cx="5829300" cy="1463040"/>
          </a:xfrm>
        </p:spPr>
        <p:txBody>
          <a:bodyPr anchor="ctr">
            <a:normAutofit/>
          </a:bodyPr>
          <a:lstStyle>
            <a:lvl1pPr algn="r">
              <a:defRPr sz="4400" spc="200" baseline="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0" y="-1"/>
            <a:ext cx="9141714" cy="4572000"/>
          </a:xfrm>
          <a:solidFill>
            <a:schemeClr val="accent1">
              <a:lumMod val="60000"/>
              <a:lumOff val="40000"/>
            </a:schemeClr>
          </a:solidFill>
        </p:spPr>
        <p:txBody>
          <a:bodyPr lIns="457200" tIns="365760"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dirty="0"/>
          </a:p>
        </p:txBody>
      </p:sp>
      <p:sp>
        <p:nvSpPr>
          <p:cNvPr id="4" name="Text Placeholder 3"/>
          <p:cNvSpPr>
            <a:spLocks noGrp="1"/>
          </p:cNvSpPr>
          <p:nvPr>
            <p:ph type="body" sz="half" idx="2"/>
          </p:nvPr>
        </p:nvSpPr>
        <p:spPr>
          <a:xfrm>
            <a:off x="6457950" y="4960138"/>
            <a:ext cx="2400300" cy="1463040"/>
          </a:xfrm>
        </p:spPr>
        <p:txBody>
          <a:bodyPr lIns="91440" rIns="91440" anchor="ctr">
            <a:normAutofit/>
          </a:bodyPr>
          <a:lstStyle>
            <a:lvl1pPr marL="0" indent="0">
              <a:lnSpc>
                <a:spcPct val="100000"/>
              </a:lnSpc>
              <a:spcBef>
                <a:spcPts val="0"/>
              </a:spcBef>
              <a:buNone/>
              <a:defRPr sz="1600">
                <a:solidFill>
                  <a:schemeClr val="tx1">
                    <a:lumMod val="95000"/>
                    <a:lumOff val="5000"/>
                  </a:schemeClr>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ltLang="en-US"/>
          </a:p>
        </p:txBody>
      </p:sp>
      <p:sp>
        <p:nvSpPr>
          <p:cNvPr id="6" name="Footer Placeholder 5"/>
          <p:cNvSpPr>
            <a:spLocks noGrp="1"/>
          </p:cNvSpPr>
          <p:nvPr>
            <p:ph type="ftr" sz="quarter" idx="11"/>
          </p:nvPr>
        </p:nvSpPr>
        <p:spPr/>
        <p:txBody>
          <a:bodyPr/>
          <a:lstStyle/>
          <a:p>
            <a:endParaRPr lang="en-US" altLang="en-US"/>
          </a:p>
        </p:txBody>
      </p:sp>
      <p:sp>
        <p:nvSpPr>
          <p:cNvPr id="7" name="Slide Number Placeholder 6"/>
          <p:cNvSpPr>
            <a:spLocks noGrp="1"/>
          </p:cNvSpPr>
          <p:nvPr>
            <p:ph type="sldNum" sz="quarter" idx="12"/>
          </p:nvPr>
        </p:nvSpPr>
        <p:spPr/>
        <p:txBody>
          <a:bodyPr/>
          <a:lstStyle/>
          <a:p>
            <a:fld id="{746B3F34-FFE7-42A5-A53B-F97BC119FB5B}" type="slidenum">
              <a:rPr lang="en-US" altLang="en-US" smtClean="0"/>
              <a:pPr/>
              <a:t>‹#›</a:t>
            </a:fld>
            <a:endParaRPr lang="en-US" altLang="en-US"/>
          </a:p>
        </p:txBody>
      </p:sp>
      <p:cxnSp>
        <p:nvCxnSpPr>
          <p:cNvPr id="8" name="Straight Connector 7"/>
          <p:cNvCxnSpPr/>
          <p:nvPr/>
        </p:nvCxnSpPr>
        <p:spPr>
          <a:xfrm flipV="1">
            <a:off x="6290132" y="5264106"/>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68376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8096" y="585216"/>
            <a:ext cx="7290054" cy="1499616"/>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768096" y="2286000"/>
            <a:ext cx="7290055" cy="4023360"/>
          </a:xfrm>
          <a:prstGeom prst="rect">
            <a:avLst/>
          </a:prstGeom>
        </p:spPr>
        <p:txBody>
          <a:bodyPr vert="horz" lIns="45720" tIns="45720" rIns="4572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68097" y="6470704"/>
            <a:ext cx="161560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endParaRPr lang="en-US" altLang="en-US"/>
          </a:p>
        </p:txBody>
      </p:sp>
      <p:sp>
        <p:nvSpPr>
          <p:cNvPr id="5" name="Footer Placeholder 4"/>
          <p:cNvSpPr>
            <a:spLocks noGrp="1"/>
          </p:cNvSpPr>
          <p:nvPr>
            <p:ph type="ftr" sz="quarter" idx="3"/>
          </p:nvPr>
        </p:nvSpPr>
        <p:spPr>
          <a:xfrm>
            <a:off x="3632200" y="6470704"/>
            <a:ext cx="4426094"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endParaRPr lang="en-US" altLang="en-US"/>
          </a:p>
        </p:txBody>
      </p:sp>
      <p:sp>
        <p:nvSpPr>
          <p:cNvPr id="6" name="Slide Number Placeholder 5"/>
          <p:cNvSpPr>
            <a:spLocks noGrp="1"/>
          </p:cNvSpPr>
          <p:nvPr>
            <p:ph type="sldNum" sz="quarter" idx="4"/>
          </p:nvPr>
        </p:nvSpPr>
        <p:spPr>
          <a:xfrm>
            <a:off x="8128000" y="6470704"/>
            <a:ext cx="730250"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8BACE4C1-8C44-42AC-9870-A8FE3542E5F6}" type="slidenum">
              <a:rPr lang="en-US" altLang="en-US" smtClean="0"/>
              <a:pPr/>
              <a:t>‹#›</a:t>
            </a:fld>
            <a:endParaRPr lang="en-US" altLang="en-US"/>
          </a:p>
        </p:txBody>
      </p:sp>
      <p:cxnSp>
        <p:nvCxnSpPr>
          <p:cNvPr id="7" name="Straight Connector 6"/>
          <p:cNvCxnSpPr/>
          <p:nvPr/>
        </p:nvCxnSpPr>
        <p:spPr>
          <a:xfrm flipV="1">
            <a:off x="571500"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tangle 10"/>
          <p:cNvSpPr>
            <a:spLocks noChangeArrowheads="1"/>
          </p:cNvSpPr>
          <p:nvPr userDrawn="1"/>
        </p:nvSpPr>
        <p:spPr bwMode="auto">
          <a:xfrm>
            <a:off x="0" y="20002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9" name="Rectangle 11"/>
          <p:cNvSpPr>
            <a:spLocks noChangeArrowheads="1"/>
          </p:cNvSpPr>
          <p:nvPr userDrawn="1"/>
        </p:nvSpPr>
        <p:spPr bwMode="auto">
          <a:xfrm>
            <a:off x="0" y="3152775"/>
            <a:ext cx="241300" cy="534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ltLang="en-US" sz="1100">
              <a:latin typeface="Palatino" pitchFamily="18" charset="0"/>
            </a:endParaRPr>
          </a:p>
          <a:p>
            <a:pPr eaLnBrk="0" hangingPunct="0"/>
            <a:r>
              <a:rPr lang="en-US" altLang="en-US">
                <a:latin typeface="Palatino" pitchFamily="18" charset="0"/>
              </a:rPr>
              <a:t> </a:t>
            </a:r>
            <a:endParaRPr lang="en-US" altLang="en-US"/>
          </a:p>
        </p:txBody>
      </p:sp>
    </p:spTree>
    <p:extLst>
      <p:ext uri="{BB962C8B-B14F-4D97-AF65-F5344CB8AC3E}">
        <p14:creationId xmlns:p14="http://schemas.microsoft.com/office/powerpoint/2010/main" val="134726051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defTabSz="914400" rtl="0" eaLnBrk="1" latinLnBrk="0" hangingPunct="1">
        <a:lnSpc>
          <a:spcPct val="80000"/>
        </a:lnSpc>
        <a:spcBef>
          <a:spcPct val="0"/>
        </a:spcBef>
        <a:buNone/>
        <a:defRPr sz="44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0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6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2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2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2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2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2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2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hyperlink" Target="https://www.ideasforleaders.com/ideas/seven-key-steps-to-effective-succession-planning"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6.xml"/><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4.png"/><Relationship Id="rId7" Type="http://schemas.openxmlformats.org/officeDocument/2006/relationships/diagramQuickStyle" Target="../diagrams/quickStyle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5.png"/><Relationship Id="rId9" Type="http://schemas.microsoft.com/office/2007/relationships/diagramDrawing" Target="../diagrams/drawing2.xml"/></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image" Target="../media/image4.png"/><Relationship Id="rId7" Type="http://schemas.openxmlformats.org/officeDocument/2006/relationships/diagramQuickStyle" Target="../diagrams/quickStyle3.xml"/><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5.png"/><Relationship Id="rId9" Type="http://schemas.microsoft.com/office/2007/relationships/diagramDrawing" Target="../diagrams/drawing3.xml"/></Relationships>
</file>

<file path=ppt/slides/_rels/slide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 y="4960137"/>
            <a:ext cx="6781800" cy="1463040"/>
          </a:xfrm>
        </p:spPr>
        <p:txBody>
          <a:bodyPr>
            <a:noAutofit/>
          </a:bodyPr>
          <a:lstStyle/>
          <a:p>
            <a:r>
              <a:rPr lang="en-US" altLang="en-US" sz="3200" dirty="0">
                <a:ea typeface="MS PGothic" panose="020B0600070205080204" pitchFamily="34" charset="-128"/>
              </a:rPr>
              <a:t>Procurement’s Most Strategic Asset: </a:t>
            </a:r>
            <a:br>
              <a:rPr lang="en-US" altLang="en-US" sz="3200" dirty="0">
                <a:ea typeface="MS PGothic" panose="020B0600070205080204" pitchFamily="34" charset="-128"/>
              </a:rPr>
            </a:br>
            <a:r>
              <a:rPr lang="en-US" altLang="en-US" sz="3200" dirty="0">
                <a:ea typeface="MS PGothic" panose="020B0600070205080204" pitchFamily="34" charset="-128"/>
              </a:rPr>
              <a:t>It’s Professionals</a:t>
            </a:r>
            <a:r>
              <a:rPr lang="en-US" altLang="en-US" sz="3200" dirty="0">
                <a:solidFill>
                  <a:schemeClr val="bg1"/>
                </a:solidFill>
              </a:rPr>
              <a:t/>
            </a:r>
            <a:br>
              <a:rPr lang="en-US" altLang="en-US" sz="3200" dirty="0">
                <a:solidFill>
                  <a:schemeClr val="bg1"/>
                </a:solidFill>
              </a:rPr>
            </a:br>
            <a:endParaRPr lang="en-US" sz="3200" dirty="0"/>
          </a:p>
        </p:txBody>
      </p:sp>
      <p:sp>
        <p:nvSpPr>
          <p:cNvPr id="3" name="Subtitle 2"/>
          <p:cNvSpPr>
            <a:spLocks noGrp="1"/>
          </p:cNvSpPr>
          <p:nvPr>
            <p:ph type="subTitle" idx="1"/>
          </p:nvPr>
        </p:nvSpPr>
        <p:spPr>
          <a:xfrm>
            <a:off x="6457950" y="4960137"/>
            <a:ext cx="2609850" cy="1463040"/>
          </a:xfrm>
        </p:spPr>
        <p:txBody>
          <a:bodyPr>
            <a:noAutofit/>
          </a:bodyPr>
          <a:lstStyle/>
          <a:p>
            <a:pPr fontAlgn="auto">
              <a:spcAft>
                <a:spcPts val="0"/>
              </a:spcAft>
              <a:defRPr/>
            </a:pPr>
            <a:r>
              <a:rPr lang="en-US" sz="2000" dirty="0">
                <a:solidFill>
                  <a:srgbClr val="4C4C4F"/>
                </a:solidFill>
                <a:latin typeface="Arial" charset="0"/>
                <a:ea typeface="ＭＳ Ｐゴシック" pitchFamily="96" charset="-128"/>
              </a:rPr>
              <a:t>Dr. Clifford McCue</a:t>
            </a:r>
          </a:p>
          <a:p>
            <a:pPr fontAlgn="auto">
              <a:spcAft>
                <a:spcPts val="0"/>
              </a:spcAft>
              <a:defRPr/>
            </a:pPr>
            <a:r>
              <a:rPr lang="en-US" sz="2000" dirty="0">
                <a:solidFill>
                  <a:srgbClr val="4C4C4F"/>
                </a:solidFill>
                <a:latin typeface="Arial" charset="0"/>
                <a:ea typeface="ＭＳ Ｐゴシック" pitchFamily="96" charset="-128"/>
              </a:rPr>
              <a:t>Associate </a:t>
            </a:r>
            <a:r>
              <a:rPr lang="en-US" sz="2000" dirty="0" smtClean="0">
                <a:solidFill>
                  <a:srgbClr val="4C4C4F"/>
                </a:solidFill>
                <a:latin typeface="Arial" charset="0"/>
                <a:ea typeface="ＭＳ Ｐゴシック" pitchFamily="96" charset="-128"/>
              </a:rPr>
              <a:t>Professor</a:t>
            </a:r>
          </a:p>
          <a:p>
            <a:pPr fontAlgn="auto">
              <a:spcAft>
                <a:spcPts val="0"/>
              </a:spcAft>
              <a:defRPr/>
            </a:pPr>
            <a:r>
              <a:rPr lang="en-US" sz="2000" dirty="0" smtClean="0">
                <a:solidFill>
                  <a:srgbClr val="4C4C4F"/>
                </a:solidFill>
                <a:latin typeface="Arial" charset="0"/>
                <a:ea typeface="ＭＳ Ｐゴシック" pitchFamily="96" charset="-128"/>
              </a:rPr>
              <a:t>Florida Atlantic University</a:t>
            </a:r>
            <a:endParaRPr lang="en-US" sz="1100" dirty="0"/>
          </a:p>
          <a:p>
            <a:endParaRPr lang="en-US" sz="1100" dirty="0"/>
          </a:p>
        </p:txBody>
      </p:sp>
    </p:spTree>
    <p:extLst>
      <p:ext uri="{BB962C8B-B14F-4D97-AF65-F5344CB8AC3E}">
        <p14:creationId xmlns:p14="http://schemas.microsoft.com/office/powerpoint/2010/main" val="41485809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o achieve excellence </a:t>
            </a:r>
            <a:r>
              <a:rPr lang="en-US" dirty="0"/>
              <a:t>we need </a:t>
            </a:r>
            <a:r>
              <a:rPr lang="en-US" dirty="0" smtClean="0"/>
              <a:t>professionals </a:t>
            </a:r>
            <a:r>
              <a:rPr lang="en-US" dirty="0"/>
              <a:t>who are familiar </a:t>
            </a:r>
            <a:r>
              <a:rPr lang="en-US" dirty="0" smtClean="0"/>
              <a:t>with:</a:t>
            </a:r>
            <a:endParaRPr lang="en-US" dirty="0"/>
          </a:p>
        </p:txBody>
      </p:sp>
      <p:sp>
        <p:nvSpPr>
          <p:cNvPr id="3" name="Content Placeholder 2"/>
          <p:cNvSpPr>
            <a:spLocks noGrp="1"/>
          </p:cNvSpPr>
          <p:nvPr>
            <p:ph idx="1"/>
          </p:nvPr>
        </p:nvSpPr>
        <p:spPr>
          <a:xfrm>
            <a:off x="768096" y="2286000"/>
            <a:ext cx="7918704" cy="4419600"/>
          </a:xfrm>
        </p:spPr>
        <p:txBody>
          <a:bodyPr>
            <a:normAutofit fontScale="92500" lnSpcReduction="10000"/>
          </a:bodyPr>
          <a:lstStyle/>
          <a:p>
            <a:r>
              <a:rPr lang="en-US" b="1" dirty="0"/>
              <a:t>Strategic industry management</a:t>
            </a:r>
            <a:r>
              <a:rPr lang="en-US" dirty="0"/>
              <a:t>: Establishing long range business plans which can anticipate </a:t>
            </a:r>
            <a:r>
              <a:rPr lang="en-US" dirty="0" smtClean="0"/>
              <a:t>market changes. </a:t>
            </a:r>
            <a:r>
              <a:rPr lang="en-US" dirty="0"/>
              <a:t>This is particularly important for commodity </a:t>
            </a:r>
            <a:r>
              <a:rPr lang="en-US" dirty="0" smtClean="0"/>
              <a:t>procurement.</a:t>
            </a:r>
            <a:endParaRPr lang="en-US" dirty="0"/>
          </a:p>
          <a:p>
            <a:r>
              <a:rPr lang="en-US" b="1" dirty="0"/>
              <a:t>Category management:</a:t>
            </a:r>
            <a:r>
              <a:rPr lang="en-US" dirty="0"/>
              <a:t>  Arranging or </a:t>
            </a:r>
            <a:r>
              <a:rPr lang="en-US" dirty="0" smtClean="0"/>
              <a:t>categorizing </a:t>
            </a:r>
            <a:r>
              <a:rPr lang="en-US" dirty="0"/>
              <a:t>your spend according to specific goods or services (direct &amp; indirect); and keeping in mind quality, service, risk and cost.</a:t>
            </a:r>
          </a:p>
          <a:p>
            <a:r>
              <a:rPr lang="en-US" b="1" dirty="0"/>
              <a:t>Project management:</a:t>
            </a:r>
            <a:r>
              <a:rPr lang="en-US" dirty="0"/>
              <a:t> Driving the procurement process by designing, implementing and managing projects to a successful conclusion. Establishing accountability, establishing timelines and establishing goals are paramount.</a:t>
            </a:r>
          </a:p>
          <a:p>
            <a:r>
              <a:rPr lang="en-US" b="1" dirty="0"/>
              <a:t>Relationship management:</a:t>
            </a:r>
            <a:r>
              <a:rPr lang="en-US" dirty="0"/>
              <a:t> The ability to leverage interpersonal skills to establish rapport and develop relationships with all key stakeholders: suppliers, customers &amp; colleagues.</a:t>
            </a:r>
          </a:p>
          <a:p>
            <a:r>
              <a:rPr lang="en-US" b="1" dirty="0"/>
              <a:t>Negotiation skills: </a:t>
            </a:r>
            <a:r>
              <a:rPr lang="en-US" dirty="0"/>
              <a:t>The ability to persuade, influence and explore positions and alternatives to reach outcomes that will gain acceptance of all parties and will also meet </a:t>
            </a:r>
            <a:r>
              <a:rPr lang="en-US" dirty="0" smtClean="0"/>
              <a:t>the government’s </a:t>
            </a:r>
            <a:r>
              <a:rPr lang="en-US" dirty="0"/>
              <a:t>strategic procurement objectives.</a:t>
            </a:r>
          </a:p>
          <a:p>
            <a:endParaRPr lang="en-US" dirty="0"/>
          </a:p>
        </p:txBody>
      </p:sp>
    </p:spTree>
    <p:extLst>
      <p:ext uri="{BB962C8B-B14F-4D97-AF65-F5344CB8AC3E}">
        <p14:creationId xmlns:p14="http://schemas.microsoft.com/office/powerpoint/2010/main" val="204535689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o achieve </a:t>
            </a:r>
            <a:r>
              <a:rPr lang="en-US" dirty="0" smtClean="0"/>
              <a:t>excellence </a:t>
            </a:r>
            <a:r>
              <a:rPr lang="en-US" dirty="0"/>
              <a:t>we need </a:t>
            </a:r>
            <a:r>
              <a:rPr lang="en-US" dirty="0" smtClean="0"/>
              <a:t>professionals </a:t>
            </a:r>
            <a:r>
              <a:rPr lang="en-US" dirty="0"/>
              <a:t>who are familiar with:</a:t>
            </a:r>
          </a:p>
        </p:txBody>
      </p:sp>
      <p:sp>
        <p:nvSpPr>
          <p:cNvPr id="3" name="Content Placeholder 2"/>
          <p:cNvSpPr>
            <a:spLocks noGrp="1"/>
          </p:cNvSpPr>
          <p:nvPr>
            <p:ph idx="1"/>
          </p:nvPr>
        </p:nvSpPr>
        <p:spPr>
          <a:xfrm>
            <a:off x="685800" y="2286000"/>
            <a:ext cx="7924800" cy="4343400"/>
          </a:xfrm>
        </p:spPr>
        <p:txBody>
          <a:bodyPr>
            <a:noAutofit/>
          </a:bodyPr>
          <a:lstStyle/>
          <a:p>
            <a:r>
              <a:rPr lang="en-US" sz="1900" b="1" dirty="0"/>
              <a:t>Financial </a:t>
            </a:r>
            <a:r>
              <a:rPr lang="en-US" sz="1900" b="1" dirty="0" smtClean="0"/>
              <a:t>knowledge</a:t>
            </a:r>
            <a:r>
              <a:rPr lang="en-US" sz="1900" dirty="0" smtClean="0"/>
              <a:t>: </a:t>
            </a:r>
            <a:r>
              <a:rPr lang="en-US" sz="1900" dirty="0"/>
              <a:t>The ability to apply a broad understanding of financial management </a:t>
            </a:r>
            <a:r>
              <a:rPr lang="en-US" sz="1900" dirty="0" smtClean="0"/>
              <a:t>principals </a:t>
            </a:r>
            <a:r>
              <a:rPr lang="en-US" sz="1900" dirty="0"/>
              <a:t>and other </a:t>
            </a:r>
            <a:r>
              <a:rPr lang="en-US" sz="1900" dirty="0" smtClean="0"/>
              <a:t>accounting information.</a:t>
            </a:r>
            <a:endParaRPr lang="en-US" sz="1900" dirty="0"/>
          </a:p>
          <a:p>
            <a:r>
              <a:rPr lang="en-US" sz="1900" b="1" dirty="0"/>
              <a:t>Analytical skills</a:t>
            </a:r>
            <a:r>
              <a:rPr lang="en-US" sz="1900" dirty="0"/>
              <a:t>: The ability to </a:t>
            </a:r>
            <a:r>
              <a:rPr lang="en-US" sz="1900" dirty="0" smtClean="0"/>
              <a:t>visualize</a:t>
            </a:r>
            <a:r>
              <a:rPr lang="en-US" sz="1900" dirty="0"/>
              <a:t>, articulate, and solve both complex and uncomplicated problems and concepts and make decisions that make sense based on all available information. Particularly important in the selection of vendors.</a:t>
            </a:r>
          </a:p>
          <a:p>
            <a:r>
              <a:rPr lang="en-US" sz="1900" b="1" dirty="0"/>
              <a:t>Aptitude for technology:</a:t>
            </a:r>
            <a:r>
              <a:rPr lang="en-US" sz="1900" dirty="0"/>
              <a:t> The ability to apply and improve extensive or in-depth </a:t>
            </a:r>
            <a:r>
              <a:rPr lang="en-US" sz="1900" dirty="0" smtClean="0"/>
              <a:t>specialized </a:t>
            </a:r>
            <a:r>
              <a:rPr lang="en-US" sz="1900" dirty="0"/>
              <a:t>knowledge, skills, and judgment by assessing and translating information technology into responsive and effective procurement solutions.</a:t>
            </a:r>
          </a:p>
          <a:p>
            <a:r>
              <a:rPr lang="en-US" sz="1900" b="1" dirty="0"/>
              <a:t>Results focused: </a:t>
            </a:r>
            <a:r>
              <a:rPr lang="en-US" sz="1900" dirty="0"/>
              <a:t>The ability and drive for achieving and surpassing targets against an internal or external standards of excellence</a:t>
            </a:r>
            <a:r>
              <a:rPr lang="en-US" sz="1900" dirty="0" smtClean="0"/>
              <a:t>.</a:t>
            </a:r>
            <a:endParaRPr lang="en-US" sz="1900" dirty="0"/>
          </a:p>
          <a:p>
            <a:r>
              <a:rPr lang="en-US" sz="1900" b="1" dirty="0"/>
              <a:t>Professionalism: </a:t>
            </a:r>
            <a:r>
              <a:rPr lang="en-US" sz="1900" dirty="0"/>
              <a:t>The ability to think </a:t>
            </a:r>
            <a:r>
              <a:rPr lang="en-US" sz="1900" dirty="0" smtClean="0"/>
              <a:t>critically </a:t>
            </a:r>
            <a:r>
              <a:rPr lang="en-US" sz="1900" dirty="0"/>
              <a:t>about the likely effects </a:t>
            </a:r>
            <a:r>
              <a:rPr lang="en-US" sz="1900" dirty="0" smtClean="0"/>
              <a:t>of </a:t>
            </a:r>
            <a:r>
              <a:rPr lang="en-US" sz="1900" dirty="0"/>
              <a:t>your words, actions, appearance, </a:t>
            </a:r>
            <a:r>
              <a:rPr lang="en-US" sz="1900" dirty="0" smtClean="0"/>
              <a:t>and </a:t>
            </a:r>
            <a:r>
              <a:rPr lang="en-US" sz="1900" dirty="0"/>
              <a:t>mode of </a:t>
            </a:r>
            <a:r>
              <a:rPr lang="en-US" sz="1900" dirty="0" smtClean="0"/>
              <a:t>behavior on desired outcomes.</a:t>
            </a:r>
            <a:endParaRPr lang="en-US" sz="1900" dirty="0"/>
          </a:p>
          <a:p>
            <a:endParaRPr lang="en-US" sz="1900" dirty="0"/>
          </a:p>
        </p:txBody>
      </p:sp>
    </p:spTree>
    <p:extLst>
      <p:ext uri="{BB962C8B-B14F-4D97-AF65-F5344CB8AC3E}">
        <p14:creationId xmlns:p14="http://schemas.microsoft.com/office/powerpoint/2010/main" val="302639763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 how do we get the talent needed to move to procurement excellence?</a:t>
            </a:r>
          </a:p>
        </p:txBody>
      </p:sp>
      <p:sp>
        <p:nvSpPr>
          <p:cNvPr id="3" name="Content Placeholder 2"/>
          <p:cNvSpPr>
            <a:spLocks noGrp="1"/>
          </p:cNvSpPr>
          <p:nvPr>
            <p:ph idx="1"/>
          </p:nvPr>
        </p:nvSpPr>
        <p:spPr/>
        <p:txBody>
          <a:bodyPr>
            <a:normAutofit/>
          </a:bodyPr>
          <a:lstStyle/>
          <a:p>
            <a:r>
              <a:rPr lang="en-US" sz="2800" dirty="0" smtClean="0"/>
              <a:t>Talent Management is all about:</a:t>
            </a:r>
          </a:p>
          <a:p>
            <a:pPr lvl="1"/>
            <a:r>
              <a:rPr lang="en-US" sz="2800" dirty="0" smtClean="0"/>
              <a:t>Recruiting the right talent</a:t>
            </a:r>
          </a:p>
          <a:p>
            <a:pPr lvl="1"/>
            <a:r>
              <a:rPr lang="en-US" sz="2800" dirty="0" smtClean="0"/>
              <a:t>Retaining the right talent</a:t>
            </a:r>
          </a:p>
          <a:p>
            <a:pPr lvl="1"/>
            <a:r>
              <a:rPr lang="en-US" sz="2800" dirty="0" smtClean="0"/>
              <a:t>Developing succession plans to capture talent</a:t>
            </a:r>
          </a:p>
          <a:p>
            <a:r>
              <a:rPr lang="en-US" sz="2800" dirty="0" smtClean="0"/>
              <a:t>In the end we want to hire, retain and promote professionals</a:t>
            </a:r>
            <a:r>
              <a:rPr lang="en-US" sz="3200" dirty="0" smtClean="0">
                <a:latin typeface="+mj-lt"/>
              </a:rPr>
              <a:t>.</a:t>
            </a:r>
            <a:endParaRPr lang="en-US" sz="3200" dirty="0">
              <a:latin typeface="+mj-lt"/>
            </a:endParaRPr>
          </a:p>
        </p:txBody>
      </p:sp>
    </p:spTree>
    <p:extLst>
      <p:ext uri="{BB962C8B-B14F-4D97-AF65-F5344CB8AC3E}">
        <p14:creationId xmlns:p14="http://schemas.microsoft.com/office/powerpoint/2010/main" val="246571845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ruiting the right talent</a:t>
            </a:r>
            <a:endParaRPr lang="en-US" dirty="0"/>
          </a:p>
        </p:txBody>
      </p:sp>
      <p:sp>
        <p:nvSpPr>
          <p:cNvPr id="3" name="Content Placeholder 2"/>
          <p:cNvSpPr>
            <a:spLocks noGrp="1"/>
          </p:cNvSpPr>
          <p:nvPr>
            <p:ph idx="1"/>
          </p:nvPr>
        </p:nvSpPr>
        <p:spPr>
          <a:xfrm>
            <a:off x="768096" y="2286000"/>
            <a:ext cx="7766304" cy="4419600"/>
          </a:xfrm>
        </p:spPr>
        <p:txBody>
          <a:bodyPr>
            <a:noAutofit/>
          </a:bodyPr>
          <a:lstStyle/>
          <a:p>
            <a:r>
              <a:rPr lang="en-US" sz="2400" dirty="0"/>
              <a:t>Recruitment practices</a:t>
            </a:r>
          </a:p>
          <a:p>
            <a:pPr lvl="1"/>
            <a:r>
              <a:rPr lang="en-US" sz="2000" dirty="0"/>
              <a:t>Maintain strong relationships with colleges and universities </a:t>
            </a:r>
            <a:r>
              <a:rPr lang="en-US" sz="2000" dirty="0" smtClean="0"/>
              <a:t>who </a:t>
            </a:r>
            <a:r>
              <a:rPr lang="en-US" sz="2000" dirty="0"/>
              <a:t>provide procurement </a:t>
            </a:r>
            <a:r>
              <a:rPr lang="en-US" sz="2000" dirty="0" smtClean="0"/>
              <a:t>degrees that </a:t>
            </a:r>
            <a:r>
              <a:rPr lang="en-US" sz="2000" dirty="0"/>
              <a:t>focus on the public sector – such as Barbados’ new Associate degree program in pubic procurement.</a:t>
            </a:r>
          </a:p>
          <a:p>
            <a:pPr lvl="1"/>
            <a:r>
              <a:rPr lang="en-US" sz="2000" dirty="0"/>
              <a:t>Use internship programs as a tool to </a:t>
            </a:r>
            <a:r>
              <a:rPr lang="en-US" sz="2000" dirty="0" smtClean="0"/>
              <a:t>recruit candidates</a:t>
            </a:r>
            <a:endParaRPr lang="en-US" sz="2000" dirty="0"/>
          </a:p>
          <a:p>
            <a:pPr lvl="1"/>
            <a:r>
              <a:rPr lang="en-US" sz="2000" dirty="0"/>
              <a:t>Actively market to and recruit raw, young talent from universities</a:t>
            </a:r>
          </a:p>
          <a:p>
            <a:pPr lvl="1"/>
            <a:r>
              <a:rPr lang="en-US" sz="2000" dirty="0"/>
              <a:t>Recruit and attract experienced deep skilled individuals – cross training</a:t>
            </a:r>
          </a:p>
          <a:p>
            <a:pPr lvl="1"/>
            <a:r>
              <a:rPr lang="en-US" sz="2000" dirty="0"/>
              <a:t>Require a rotational tour in procurement for high potential candidates</a:t>
            </a:r>
          </a:p>
          <a:p>
            <a:pPr lvl="1"/>
            <a:r>
              <a:rPr lang="en-US" sz="2000" dirty="0"/>
              <a:t>Develop a human capital management plan</a:t>
            </a:r>
          </a:p>
          <a:p>
            <a:pPr lvl="1"/>
            <a:r>
              <a:rPr lang="en-US" sz="2000" dirty="0"/>
              <a:t>Leverage a variety of communication channels for </a:t>
            </a:r>
            <a:r>
              <a:rPr lang="en-US" sz="2000" dirty="0" smtClean="0"/>
              <a:t>recruitment</a:t>
            </a:r>
            <a:endParaRPr lang="en-US" sz="1800" dirty="0"/>
          </a:p>
          <a:p>
            <a:endParaRPr lang="en-US" sz="2400" dirty="0"/>
          </a:p>
          <a:p>
            <a:endParaRPr lang="en-US" sz="2400" dirty="0"/>
          </a:p>
        </p:txBody>
      </p:sp>
    </p:spTree>
    <p:extLst>
      <p:ext uri="{BB962C8B-B14F-4D97-AF65-F5344CB8AC3E}">
        <p14:creationId xmlns:p14="http://schemas.microsoft.com/office/powerpoint/2010/main" val="404171660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taining the right talent</a:t>
            </a:r>
            <a:endParaRPr lang="en-US" dirty="0"/>
          </a:p>
        </p:txBody>
      </p:sp>
      <p:sp>
        <p:nvSpPr>
          <p:cNvPr id="3" name="Content Placeholder 2"/>
          <p:cNvSpPr>
            <a:spLocks noGrp="1"/>
          </p:cNvSpPr>
          <p:nvPr>
            <p:ph idx="1"/>
          </p:nvPr>
        </p:nvSpPr>
        <p:spPr>
          <a:xfrm>
            <a:off x="768096" y="1981200"/>
            <a:ext cx="7918704" cy="4343400"/>
          </a:xfrm>
        </p:spPr>
        <p:txBody>
          <a:bodyPr>
            <a:noAutofit/>
          </a:bodyPr>
          <a:lstStyle/>
          <a:p>
            <a:r>
              <a:rPr lang="en-US" sz="2400" dirty="0" smtClean="0"/>
              <a:t>Retention Practices</a:t>
            </a:r>
          </a:p>
          <a:p>
            <a:pPr lvl="1"/>
            <a:r>
              <a:rPr lang="en-US" sz="1800" b="1" dirty="0"/>
              <a:t>Track retention</a:t>
            </a:r>
            <a:r>
              <a:rPr lang="en-US" sz="1800" dirty="0"/>
              <a:t>. If you don’t measure it, it won’t improve. </a:t>
            </a:r>
            <a:endParaRPr lang="en-US" sz="1800" dirty="0" smtClean="0"/>
          </a:p>
          <a:p>
            <a:pPr lvl="1"/>
            <a:r>
              <a:rPr lang="en-US" sz="1800" b="1" dirty="0"/>
              <a:t>Train first level supervisors</a:t>
            </a:r>
            <a:r>
              <a:rPr lang="en-US" sz="1800" dirty="0"/>
              <a:t>. </a:t>
            </a:r>
            <a:r>
              <a:rPr lang="en-US" sz="1800" dirty="0" smtClean="0"/>
              <a:t>Good </a:t>
            </a:r>
            <a:r>
              <a:rPr lang="en-US" sz="1800" dirty="0"/>
              <a:t>supervisors are crucial to retention</a:t>
            </a:r>
            <a:r>
              <a:rPr lang="en-US" sz="1800" dirty="0" smtClean="0"/>
              <a:t>.</a:t>
            </a:r>
          </a:p>
          <a:p>
            <a:pPr lvl="1"/>
            <a:r>
              <a:rPr lang="en-US" sz="1800" b="1" dirty="0"/>
              <a:t>Hire right in the first place</a:t>
            </a:r>
            <a:r>
              <a:rPr lang="en-US" sz="1800" dirty="0"/>
              <a:t>. Too many employment interviews are about personality: whether the job candidate matches the manager’s personality</a:t>
            </a:r>
            <a:r>
              <a:rPr lang="en-US" sz="1800" dirty="0" smtClean="0"/>
              <a:t>.</a:t>
            </a:r>
          </a:p>
          <a:p>
            <a:pPr lvl="1"/>
            <a:r>
              <a:rPr lang="en-US" sz="1800" b="1" dirty="0"/>
              <a:t>Offer employees a path to greater pay, recognition and responsibility</a:t>
            </a:r>
            <a:r>
              <a:rPr lang="en-US" sz="1800" dirty="0"/>
              <a:t>. Not everyone can rise to </a:t>
            </a:r>
            <a:r>
              <a:rPr lang="en-US" sz="1800" dirty="0" smtClean="0"/>
              <a:t>CPO</a:t>
            </a:r>
            <a:r>
              <a:rPr lang="en-US" sz="1800" dirty="0"/>
              <a:t>, but every employee can build skills. Find a way to recognize those skill and challenge employees to gain even more </a:t>
            </a:r>
            <a:r>
              <a:rPr lang="en-US" sz="1800" dirty="0" smtClean="0"/>
              <a:t>skills</a:t>
            </a:r>
          </a:p>
          <a:p>
            <a:pPr lvl="1"/>
            <a:r>
              <a:rPr lang="en-US" sz="1800" b="1" dirty="0"/>
              <a:t>Look for ways to increase flexibility in work conditions</a:t>
            </a:r>
            <a:r>
              <a:rPr lang="en-US" sz="1800" dirty="0"/>
              <a:t>. Can you accommodate non-work responsibilities and desires of your employees? Overly rigid work rules can drive good workers away.</a:t>
            </a:r>
          </a:p>
          <a:p>
            <a:pPr lvl="1"/>
            <a:r>
              <a:rPr lang="en-US" sz="1800" b="1" dirty="0"/>
              <a:t>Look for </a:t>
            </a:r>
            <a:r>
              <a:rPr lang="en-US" sz="1800" b="1" dirty="0" smtClean="0"/>
              <a:t>stressors.</a:t>
            </a:r>
            <a:r>
              <a:rPr lang="en-US" sz="1800" dirty="0" smtClean="0"/>
              <a:t> Train staff </a:t>
            </a:r>
            <a:r>
              <a:rPr lang="en-US" sz="1800" dirty="0"/>
              <a:t>on how to help employees in stressful positions.</a:t>
            </a:r>
          </a:p>
          <a:p>
            <a:pPr lvl="1"/>
            <a:r>
              <a:rPr lang="en-US" sz="1800" b="1" dirty="0"/>
              <a:t>Re-evaluate your benefits package</a:t>
            </a:r>
            <a:r>
              <a:rPr lang="en-US" sz="1800" dirty="0"/>
              <a:t>. This isn’t to say that benefits need to be increased, but that the package should meet the needs of those employees most likely to </a:t>
            </a:r>
            <a:r>
              <a:rPr lang="en-US" sz="1800" dirty="0" smtClean="0"/>
              <a:t>leave.</a:t>
            </a:r>
          </a:p>
          <a:p>
            <a:endParaRPr lang="en-US" sz="2400" dirty="0"/>
          </a:p>
        </p:txBody>
      </p:sp>
    </p:spTree>
    <p:extLst>
      <p:ext uri="{BB962C8B-B14F-4D97-AF65-F5344CB8AC3E}">
        <p14:creationId xmlns:p14="http://schemas.microsoft.com/office/powerpoint/2010/main" val="35561986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eloping succession plans to capture talent</a:t>
            </a:r>
          </a:p>
        </p:txBody>
      </p:sp>
      <p:sp>
        <p:nvSpPr>
          <p:cNvPr id="3" name="Content Placeholder 2"/>
          <p:cNvSpPr>
            <a:spLocks noGrp="1"/>
          </p:cNvSpPr>
          <p:nvPr>
            <p:ph idx="1"/>
          </p:nvPr>
        </p:nvSpPr>
        <p:spPr>
          <a:xfrm>
            <a:off x="768096" y="1981200"/>
            <a:ext cx="8071104" cy="4544568"/>
          </a:xfrm>
        </p:spPr>
        <p:txBody>
          <a:bodyPr>
            <a:noAutofit/>
          </a:bodyPr>
          <a:lstStyle/>
          <a:p>
            <a:r>
              <a:rPr lang="en-US" sz="2400" dirty="0" smtClean="0"/>
              <a:t>Succession Planning</a:t>
            </a:r>
            <a:endParaRPr lang="en-US" sz="1400" dirty="0" smtClean="0"/>
          </a:p>
          <a:p>
            <a:r>
              <a:rPr lang="en-US" sz="1600" b="1" dirty="0"/>
              <a:t>Know what you need and know what you have.</a:t>
            </a:r>
            <a:r>
              <a:rPr lang="en-US" sz="1600" dirty="0"/>
              <a:t> Identify the skills and capabilities required </a:t>
            </a:r>
            <a:r>
              <a:rPr lang="en-US" sz="1600" dirty="0" smtClean="0"/>
              <a:t>to be successful at various levels of the organization</a:t>
            </a:r>
            <a:endParaRPr lang="en-US" sz="1600" dirty="0"/>
          </a:p>
          <a:p>
            <a:r>
              <a:rPr lang="en-US" sz="1600" b="1" dirty="0"/>
              <a:t>Don’t just look at the usual suspects.</a:t>
            </a:r>
            <a:r>
              <a:rPr lang="en-US" sz="1600" dirty="0"/>
              <a:t> You’re planning for future needs and priorities, and there may be just the right people within the ranks who have the potential to fulfil those needs. Cast a wide net.</a:t>
            </a:r>
          </a:p>
          <a:p>
            <a:r>
              <a:rPr lang="en-US" sz="1600" b="1" dirty="0"/>
              <a:t>Succession should be a continuous process.</a:t>
            </a:r>
            <a:r>
              <a:rPr lang="en-US" sz="1600" dirty="0"/>
              <a:t> Don’t wait until a key position has walked out the door before you start building the profile for the best replacement.</a:t>
            </a:r>
          </a:p>
          <a:p>
            <a:r>
              <a:rPr lang="en-US" sz="1600" b="1" dirty="0"/>
              <a:t>Who’s doing what? </a:t>
            </a:r>
            <a:r>
              <a:rPr lang="en-US" sz="1600" dirty="0" smtClean="0"/>
              <a:t>Everyone </a:t>
            </a:r>
            <a:r>
              <a:rPr lang="en-US" sz="1600" dirty="0"/>
              <a:t>should be assigned specific roles and held accountable for their part in the process.</a:t>
            </a:r>
          </a:p>
          <a:p>
            <a:r>
              <a:rPr lang="en-US" sz="1600" b="1" dirty="0"/>
              <a:t>Connect your succession program with coaching and internal talent development.</a:t>
            </a:r>
            <a:r>
              <a:rPr lang="en-US" sz="1600" dirty="0"/>
              <a:t> To fill the pipeline with </a:t>
            </a:r>
            <a:r>
              <a:rPr lang="en-US" sz="1600" dirty="0" smtClean="0"/>
              <a:t>talent </a:t>
            </a:r>
            <a:r>
              <a:rPr lang="en-US" sz="1600" dirty="0"/>
              <a:t>requires filling the knowledge and experience gaps in your potential leaders so they can be set to fill the void when needed.</a:t>
            </a:r>
          </a:p>
          <a:p>
            <a:r>
              <a:rPr lang="en-US" sz="1600" b="1" dirty="0" smtClean="0"/>
              <a:t>Learn </a:t>
            </a:r>
            <a:r>
              <a:rPr lang="en-US" sz="1600" b="1" dirty="0"/>
              <a:t>from the best practices of others.</a:t>
            </a:r>
            <a:r>
              <a:rPr lang="en-US" sz="1600" dirty="0"/>
              <a:t> Succession planning is a universal </a:t>
            </a:r>
            <a:r>
              <a:rPr lang="en-US" sz="1600" dirty="0" smtClean="0"/>
              <a:t>concern. Governments </a:t>
            </a:r>
            <a:r>
              <a:rPr lang="en-US" sz="1600" dirty="0"/>
              <a:t>should </a:t>
            </a:r>
            <a:r>
              <a:rPr lang="en-US" sz="1600" dirty="0" smtClean="0"/>
              <a:t>examine </a:t>
            </a:r>
            <a:r>
              <a:rPr lang="en-US" sz="1600" dirty="0"/>
              <a:t>what others are doing, and integrate the practices that apply best to their situation.  </a:t>
            </a:r>
            <a:endParaRPr lang="en-US" sz="1600" b="1" dirty="0"/>
          </a:p>
          <a:p>
            <a:r>
              <a:rPr lang="en-US" sz="1400" dirty="0">
                <a:hlinkClick r:id="rId2" tooltip="Email"/>
              </a:rPr>
              <a:t/>
            </a:r>
            <a:br>
              <a:rPr lang="en-US" sz="1400" dirty="0">
                <a:hlinkClick r:id="rId2" tooltip="Email"/>
              </a:rPr>
            </a:br>
            <a:endParaRPr lang="en-US" sz="1400" dirty="0"/>
          </a:p>
        </p:txBody>
      </p:sp>
    </p:spTree>
    <p:extLst>
      <p:ext uri="{BB962C8B-B14F-4D97-AF65-F5344CB8AC3E}">
        <p14:creationId xmlns:p14="http://schemas.microsoft.com/office/powerpoint/2010/main" val="66229484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So where does this leave us?</a:t>
            </a:r>
            <a:endParaRPr lang="en-US" dirty="0"/>
          </a:p>
        </p:txBody>
      </p:sp>
      <p:sp>
        <p:nvSpPr>
          <p:cNvPr id="3" name="Content Placeholder 2"/>
          <p:cNvSpPr>
            <a:spLocks noGrp="1"/>
          </p:cNvSpPr>
          <p:nvPr>
            <p:ph idx="1"/>
          </p:nvPr>
        </p:nvSpPr>
        <p:spPr/>
        <p:txBody>
          <a:bodyPr>
            <a:normAutofit fontScale="92500" lnSpcReduction="10000"/>
          </a:bodyPr>
          <a:lstStyle/>
          <a:p>
            <a:r>
              <a:rPr lang="en-US" sz="2800" dirty="0" smtClean="0"/>
              <a:t>We are learning is that the most critical factor impacting the success of the procurement process is talent management which focuses on the “procurement professional.”</a:t>
            </a:r>
          </a:p>
          <a:p>
            <a:endParaRPr lang="en-US" sz="2800" dirty="0" smtClean="0"/>
          </a:p>
          <a:p>
            <a:r>
              <a:rPr lang="en-US" sz="2800" dirty="0" smtClean="0"/>
              <a:t>Although public procurement may never be seen as a profession, we need to constantly strive towards professionalism in order to move from a clerical function to a strategic partner in allocating government resources (and we need the right talent to do that).</a:t>
            </a:r>
          </a:p>
        </p:txBody>
      </p:sp>
    </p:spTree>
    <p:extLst>
      <p:ext uri="{BB962C8B-B14F-4D97-AF65-F5344CB8AC3E}">
        <p14:creationId xmlns:p14="http://schemas.microsoft.com/office/powerpoint/2010/main" val="127664283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8096" y="585216"/>
            <a:ext cx="7766304" cy="1499616"/>
          </a:xfrm>
        </p:spPr>
        <p:txBody>
          <a:bodyPr>
            <a:normAutofit/>
          </a:bodyPr>
          <a:lstStyle/>
          <a:p>
            <a:r>
              <a:rPr lang="en-US" dirty="0" smtClean="0"/>
              <a:t>Why worry about being a profession?</a:t>
            </a:r>
            <a:endParaRPr lang="en-US" dirty="0"/>
          </a:p>
        </p:txBody>
      </p:sp>
      <p:sp>
        <p:nvSpPr>
          <p:cNvPr id="3" name="Content Placeholder 2"/>
          <p:cNvSpPr>
            <a:spLocks noGrp="1"/>
          </p:cNvSpPr>
          <p:nvPr>
            <p:ph idx="1"/>
          </p:nvPr>
        </p:nvSpPr>
        <p:spPr/>
        <p:txBody>
          <a:bodyPr>
            <a:normAutofit lnSpcReduction="10000"/>
          </a:bodyPr>
          <a:lstStyle/>
          <a:p>
            <a:r>
              <a:rPr lang="en-US" sz="2400" dirty="0" smtClean="0"/>
              <a:t>Professionals have realized a privileged status in society (Krause, 1996).</a:t>
            </a:r>
          </a:p>
          <a:p>
            <a:r>
              <a:rPr lang="en-US" sz="2400" dirty="0" smtClean="0"/>
              <a:t>MD, DDS, JD, CPA signifies higher salary, recognition, and appreciation.</a:t>
            </a:r>
          </a:p>
          <a:p>
            <a:r>
              <a:rPr lang="en-US" sz="2400" dirty="0" smtClean="0"/>
              <a:t>Occupations rely on algorithmic </a:t>
            </a:r>
            <a:r>
              <a:rPr lang="en-US" sz="2400" dirty="0"/>
              <a:t>decision-making (if </a:t>
            </a:r>
            <a:r>
              <a:rPr lang="en-US" sz="2400" dirty="0" smtClean="0"/>
              <a:t>this, </a:t>
            </a:r>
            <a:r>
              <a:rPr lang="en-US" sz="2400" dirty="0"/>
              <a:t>then </a:t>
            </a:r>
            <a:r>
              <a:rPr lang="en-US" sz="2400" dirty="0" smtClean="0"/>
              <a:t>that – our history has focused on this type of decision making), professionals make decisions that require expert judgment and applies discretion.</a:t>
            </a:r>
          </a:p>
          <a:p>
            <a:r>
              <a:rPr lang="en-US" sz="2400" dirty="0" smtClean="0"/>
              <a:t>Research shows that public procurement is still largely seen as a clerical function, and as a road block to efficient governance.</a:t>
            </a:r>
            <a:endParaRPr lang="en-US" sz="2400" dirty="0"/>
          </a:p>
        </p:txBody>
      </p:sp>
    </p:spTree>
    <p:extLst>
      <p:ext uri="{BB962C8B-B14F-4D97-AF65-F5344CB8AC3E}">
        <p14:creationId xmlns:p14="http://schemas.microsoft.com/office/powerpoint/2010/main" val="64071644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8096" y="585216"/>
            <a:ext cx="8223504" cy="1499616"/>
          </a:xfrm>
        </p:spPr>
        <p:txBody>
          <a:bodyPr>
            <a:normAutofit/>
          </a:bodyPr>
          <a:lstStyle/>
          <a:p>
            <a:r>
              <a:rPr lang="en-US" dirty="0" smtClean="0"/>
              <a:t>What are the contours of a profession?</a:t>
            </a:r>
            <a:endParaRPr lang="en-US" dirty="0"/>
          </a:p>
        </p:txBody>
      </p:sp>
      <p:sp>
        <p:nvSpPr>
          <p:cNvPr id="3" name="Content Placeholder 2"/>
          <p:cNvSpPr>
            <a:spLocks noGrp="1"/>
          </p:cNvSpPr>
          <p:nvPr>
            <p:ph idx="1"/>
          </p:nvPr>
        </p:nvSpPr>
        <p:spPr>
          <a:xfrm>
            <a:off x="768096" y="2057400"/>
            <a:ext cx="7290055" cy="4023360"/>
          </a:xfrm>
        </p:spPr>
        <p:txBody>
          <a:bodyPr>
            <a:normAutofit/>
          </a:bodyPr>
          <a:lstStyle/>
          <a:p>
            <a:r>
              <a:rPr lang="en-US" sz="2800" dirty="0" smtClean="0">
                <a:solidFill>
                  <a:schemeClr val="tx1"/>
                </a:solidFill>
              </a:rPr>
              <a:t>According to Christiansen (1994) a </a:t>
            </a:r>
            <a:r>
              <a:rPr lang="en-US" sz="2800" i="1" dirty="0" smtClean="0">
                <a:solidFill>
                  <a:schemeClr val="tx1"/>
                </a:solidFill>
              </a:rPr>
              <a:t>profession</a:t>
            </a:r>
            <a:r>
              <a:rPr lang="en-US" sz="2800" dirty="0" smtClean="0">
                <a:solidFill>
                  <a:schemeClr val="tx1"/>
                </a:solidFill>
              </a:rPr>
              <a:t> must demonstrate that:</a:t>
            </a:r>
          </a:p>
          <a:p>
            <a:pPr lvl="2"/>
            <a:r>
              <a:rPr lang="en-US" sz="2800" dirty="0" smtClean="0"/>
              <a:t>The subject is sufficiently esoteric.</a:t>
            </a:r>
          </a:p>
          <a:p>
            <a:pPr lvl="2"/>
            <a:r>
              <a:rPr lang="en-US" sz="2800" dirty="0" smtClean="0"/>
              <a:t>The subject matter requires academic study.</a:t>
            </a:r>
          </a:p>
          <a:p>
            <a:pPr lvl="2"/>
            <a:r>
              <a:rPr lang="en-US" sz="2800" dirty="0" smtClean="0"/>
              <a:t>There is a barrier to entry into the field.</a:t>
            </a:r>
          </a:p>
          <a:p>
            <a:pPr lvl="2"/>
            <a:r>
              <a:rPr lang="en-US" sz="2800" dirty="0" smtClean="0"/>
              <a:t>A code of ethics exceeds legal requirements.</a:t>
            </a:r>
          </a:p>
          <a:p>
            <a:pPr lvl="2"/>
            <a:r>
              <a:rPr lang="en-US" sz="2800" dirty="0" smtClean="0"/>
              <a:t>There must be a professional society to monitor and sanction actions.</a:t>
            </a:r>
          </a:p>
          <a:p>
            <a:pPr marL="914400" lvl="2" indent="0">
              <a:buNone/>
            </a:pPr>
            <a:endParaRPr lang="en-US" sz="2800" dirty="0" smtClean="0"/>
          </a:p>
          <a:p>
            <a:pPr lvl="1"/>
            <a:endParaRPr lang="en-US" sz="2800" dirty="0"/>
          </a:p>
        </p:txBody>
      </p:sp>
    </p:spTree>
    <p:extLst>
      <p:ext uri="{BB962C8B-B14F-4D97-AF65-F5344CB8AC3E}">
        <p14:creationId xmlns:p14="http://schemas.microsoft.com/office/powerpoint/2010/main" val="47153765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Where ARE WE NOW?</a:t>
            </a:r>
            <a:endParaRPr lang="en-US" dirty="0"/>
          </a:p>
        </p:txBody>
      </p:sp>
      <p:sp>
        <p:nvSpPr>
          <p:cNvPr id="3" name="Content Placeholder 2"/>
          <p:cNvSpPr>
            <a:spLocks noGrp="1"/>
          </p:cNvSpPr>
          <p:nvPr>
            <p:ph idx="1"/>
          </p:nvPr>
        </p:nvSpPr>
        <p:spPr>
          <a:xfrm>
            <a:off x="768096" y="1676400"/>
            <a:ext cx="8071104" cy="4023360"/>
          </a:xfrm>
        </p:spPr>
        <p:txBody>
          <a:bodyPr>
            <a:noAutofit/>
          </a:bodyPr>
          <a:lstStyle/>
          <a:p>
            <a:r>
              <a:rPr lang="en-US" dirty="0"/>
              <a:t>The subject is sufficiently esoteric</a:t>
            </a:r>
            <a:r>
              <a:rPr lang="en-US" dirty="0" smtClean="0"/>
              <a:t>.</a:t>
            </a:r>
          </a:p>
          <a:p>
            <a:pPr lvl="1"/>
            <a:r>
              <a:rPr lang="en-US" sz="1800" dirty="0" smtClean="0"/>
              <a:t>Lack of data to sufficiently state what are the KSA’s for the field</a:t>
            </a:r>
            <a:endParaRPr lang="en-US" sz="1800" dirty="0"/>
          </a:p>
          <a:p>
            <a:r>
              <a:rPr lang="en-US" dirty="0"/>
              <a:t>The subject matter requires academic study</a:t>
            </a:r>
            <a:r>
              <a:rPr lang="en-US" dirty="0" smtClean="0"/>
              <a:t>.</a:t>
            </a:r>
          </a:p>
          <a:p>
            <a:pPr lvl="1"/>
            <a:r>
              <a:rPr lang="en-US" sz="1800" dirty="0" smtClean="0"/>
              <a:t>Although there are more university courses being offered internationally, there is a lack of </a:t>
            </a:r>
            <a:r>
              <a:rPr lang="en-US" sz="1800" dirty="0"/>
              <a:t>a</a:t>
            </a:r>
            <a:r>
              <a:rPr lang="en-US" sz="1800" dirty="0" smtClean="0"/>
              <a:t>n agreed upon BOK, and there are no agreed upon standards to evaluate programs in SCM/PP</a:t>
            </a:r>
            <a:r>
              <a:rPr lang="en-US" dirty="0" smtClean="0"/>
              <a:t>.</a:t>
            </a:r>
            <a:endParaRPr lang="en-US" dirty="0"/>
          </a:p>
          <a:p>
            <a:r>
              <a:rPr lang="en-US" dirty="0" smtClean="0"/>
              <a:t>There </a:t>
            </a:r>
            <a:r>
              <a:rPr lang="en-US" dirty="0"/>
              <a:t>is a barrier to entry into the field</a:t>
            </a:r>
            <a:r>
              <a:rPr lang="en-US" dirty="0" smtClean="0"/>
              <a:t>.</a:t>
            </a:r>
          </a:p>
          <a:p>
            <a:pPr lvl="1"/>
            <a:r>
              <a:rPr lang="en-US" sz="1800" dirty="0" smtClean="0"/>
              <a:t>Without some form of certification/licensure there are no barriers to entry.</a:t>
            </a:r>
            <a:endParaRPr lang="en-US" sz="1800" dirty="0"/>
          </a:p>
          <a:p>
            <a:r>
              <a:rPr lang="en-US" dirty="0" smtClean="0"/>
              <a:t>A </a:t>
            </a:r>
            <a:r>
              <a:rPr lang="en-US" dirty="0"/>
              <a:t>code of ethics exceeds legal requirements</a:t>
            </a:r>
            <a:r>
              <a:rPr lang="en-US" dirty="0" smtClean="0"/>
              <a:t>.</a:t>
            </a:r>
          </a:p>
          <a:p>
            <a:pPr lvl="1"/>
            <a:r>
              <a:rPr lang="en-US" sz="1800" dirty="0" smtClean="0"/>
              <a:t>Most governments around the world have a code of ethics, but detection and enforcement is difficult.</a:t>
            </a:r>
            <a:endParaRPr lang="en-US" sz="1800" dirty="0"/>
          </a:p>
          <a:p>
            <a:r>
              <a:rPr lang="en-US" dirty="0"/>
              <a:t>There must be a professional society to monitor and sanction actions</a:t>
            </a:r>
            <a:r>
              <a:rPr lang="en-US" dirty="0" smtClean="0"/>
              <a:t>.</a:t>
            </a:r>
          </a:p>
          <a:p>
            <a:pPr lvl="1"/>
            <a:r>
              <a:rPr lang="en-US" sz="1800" dirty="0" smtClean="0"/>
              <a:t>There are currently a number of professional organizations that fall under the umbrella of SCM/PP, and their membership keeps growing.</a:t>
            </a:r>
          </a:p>
          <a:p>
            <a:pPr lvl="1"/>
            <a:endParaRPr lang="en-US" sz="1800" dirty="0"/>
          </a:p>
          <a:p>
            <a:pPr marL="0" indent="0">
              <a:buNone/>
            </a:pPr>
            <a:endParaRPr lang="en-US" sz="1200" dirty="0"/>
          </a:p>
        </p:txBody>
      </p:sp>
    </p:spTree>
    <p:extLst>
      <p:ext uri="{BB962C8B-B14F-4D97-AF65-F5344CB8AC3E}">
        <p14:creationId xmlns:p14="http://schemas.microsoft.com/office/powerpoint/2010/main" val="42577376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719138" y="955675"/>
            <a:ext cx="7885112" cy="720725"/>
          </a:xfrm>
        </p:spPr>
        <p:txBody>
          <a:bodyPr>
            <a:noAutofit/>
          </a:bodyPr>
          <a:lstStyle/>
          <a:p>
            <a:r>
              <a:rPr lang="en-US" sz="3600" dirty="0" smtClean="0">
                <a:cs typeface="Arial" panose="020B0604020202020204" pitchFamily="34" charset="0"/>
              </a:rPr>
              <a:t>Necessity and technology are driving change in public procurement</a:t>
            </a:r>
          </a:p>
        </p:txBody>
      </p:sp>
      <p:sp>
        <p:nvSpPr>
          <p:cNvPr id="6" name="TextBox 5"/>
          <p:cNvSpPr txBox="1"/>
          <p:nvPr/>
        </p:nvSpPr>
        <p:spPr>
          <a:xfrm>
            <a:off x="4730750" y="2362200"/>
            <a:ext cx="4184650" cy="4247317"/>
          </a:xfrm>
          <a:prstGeom prst="rect">
            <a:avLst/>
          </a:prstGeom>
          <a:blipFill>
            <a:blip r:embed="rId2" cstate="print">
              <a:lum bright="-40000"/>
            </a:blip>
            <a:stretch>
              <a:fillRect/>
            </a:stretch>
          </a:blipFill>
          <a:scene3d>
            <a:camera prst="orthographicFront"/>
            <a:lightRig rig="threePt" dir="t"/>
          </a:scene3d>
          <a:sp3d>
            <a:bevelT/>
          </a:sp3d>
        </p:spPr>
        <p:txBody>
          <a:bodyPr wrap="square">
            <a:spAutoFit/>
          </a:bodyPr>
          <a:lstStyle/>
          <a:p>
            <a:pPr fontAlgn="auto">
              <a:spcBef>
                <a:spcPts val="0"/>
              </a:spcBef>
              <a:spcAft>
                <a:spcPts val="0"/>
              </a:spcAft>
              <a:defRPr/>
            </a:pPr>
            <a:r>
              <a:rPr lang="en-US" dirty="0" smtClean="0">
                <a:solidFill>
                  <a:schemeClr val="bg1"/>
                </a:solidFill>
                <a:latin typeface="Arial" pitchFamily="34" charset="0"/>
              </a:rPr>
              <a:t>Public Procurement Current and Future</a:t>
            </a:r>
            <a:r>
              <a:rPr lang="en-US" dirty="0">
                <a:solidFill>
                  <a:schemeClr val="bg1"/>
                </a:solidFill>
                <a:latin typeface="Arial" pitchFamily="34" charset="0"/>
              </a:rPr>
              <a:t>….</a:t>
            </a:r>
          </a:p>
          <a:p>
            <a:pPr fontAlgn="auto">
              <a:spcBef>
                <a:spcPts val="0"/>
              </a:spcBef>
              <a:spcAft>
                <a:spcPts val="0"/>
              </a:spcAft>
              <a:defRPr/>
            </a:pPr>
            <a:endParaRPr lang="en-US" dirty="0">
              <a:solidFill>
                <a:schemeClr val="bg1"/>
              </a:solidFill>
              <a:latin typeface="Arial" pitchFamily="34" charset="0"/>
            </a:endParaRPr>
          </a:p>
          <a:p>
            <a:pPr marL="117475" indent="-117475" fontAlgn="auto">
              <a:spcBef>
                <a:spcPts val="0"/>
              </a:spcBef>
              <a:spcAft>
                <a:spcPts val="0"/>
              </a:spcAft>
              <a:buFont typeface="Wingdings" pitchFamily="2" charset="2"/>
              <a:buChar char="§"/>
              <a:defRPr/>
            </a:pPr>
            <a:r>
              <a:rPr lang="en-US" dirty="0">
                <a:solidFill>
                  <a:schemeClr val="bg1"/>
                </a:solidFill>
                <a:latin typeface="Arial" pitchFamily="34" charset="0"/>
              </a:rPr>
              <a:t>Robust spend and process visibility</a:t>
            </a:r>
          </a:p>
          <a:p>
            <a:pPr marL="117475" indent="-117475" fontAlgn="auto">
              <a:spcBef>
                <a:spcPts val="0"/>
              </a:spcBef>
              <a:spcAft>
                <a:spcPts val="0"/>
              </a:spcAft>
              <a:buFont typeface="Wingdings" pitchFamily="2" charset="2"/>
              <a:buChar char="§"/>
              <a:defRPr/>
            </a:pPr>
            <a:r>
              <a:rPr lang="en-US" dirty="0" smtClean="0">
                <a:solidFill>
                  <a:schemeClr val="bg1"/>
                </a:solidFill>
                <a:latin typeface="Arial" pitchFamily="34" charset="0"/>
              </a:rPr>
              <a:t>TCO spend </a:t>
            </a:r>
            <a:r>
              <a:rPr lang="en-US" dirty="0">
                <a:solidFill>
                  <a:schemeClr val="bg1"/>
                </a:solidFill>
                <a:latin typeface="Arial" pitchFamily="34" charset="0"/>
              </a:rPr>
              <a:t>governance</a:t>
            </a:r>
          </a:p>
          <a:p>
            <a:pPr marL="117475" indent="-117475" fontAlgn="auto">
              <a:spcBef>
                <a:spcPts val="0"/>
              </a:spcBef>
              <a:spcAft>
                <a:spcPts val="0"/>
              </a:spcAft>
              <a:buFont typeface="Wingdings" pitchFamily="2" charset="2"/>
              <a:buChar char="§"/>
              <a:defRPr/>
            </a:pPr>
            <a:r>
              <a:rPr lang="en-US" dirty="0" smtClean="0">
                <a:solidFill>
                  <a:schemeClr val="bg1"/>
                </a:solidFill>
                <a:latin typeface="Arial" pitchFamily="34" charset="0"/>
              </a:rPr>
              <a:t>Increased economies of scale</a:t>
            </a:r>
            <a:endParaRPr lang="en-US" dirty="0">
              <a:solidFill>
                <a:schemeClr val="bg1"/>
              </a:solidFill>
              <a:latin typeface="Arial" pitchFamily="34" charset="0"/>
            </a:endParaRPr>
          </a:p>
          <a:p>
            <a:pPr marL="117475" indent="-117475" fontAlgn="auto">
              <a:spcBef>
                <a:spcPts val="0"/>
              </a:spcBef>
              <a:spcAft>
                <a:spcPts val="0"/>
              </a:spcAft>
              <a:buFont typeface="Wingdings" pitchFamily="2" charset="2"/>
              <a:buChar char="§"/>
              <a:defRPr/>
            </a:pPr>
            <a:r>
              <a:rPr lang="en-US" dirty="0" smtClean="0">
                <a:solidFill>
                  <a:schemeClr val="bg1"/>
                </a:solidFill>
                <a:latin typeface="Arial" pitchFamily="34" charset="0"/>
              </a:rPr>
              <a:t>Increased collaboration and sourcing</a:t>
            </a:r>
            <a:endParaRPr lang="en-US" dirty="0">
              <a:solidFill>
                <a:schemeClr val="bg1"/>
              </a:solidFill>
              <a:latin typeface="Arial" pitchFamily="34" charset="0"/>
            </a:endParaRPr>
          </a:p>
          <a:p>
            <a:pPr marL="117475" indent="-117475" fontAlgn="auto">
              <a:spcBef>
                <a:spcPts val="0"/>
              </a:spcBef>
              <a:spcAft>
                <a:spcPts val="0"/>
              </a:spcAft>
              <a:buFont typeface="Wingdings" pitchFamily="2" charset="2"/>
              <a:buChar char="§"/>
              <a:defRPr/>
            </a:pPr>
            <a:r>
              <a:rPr lang="en-US" dirty="0" smtClean="0">
                <a:solidFill>
                  <a:schemeClr val="bg1"/>
                </a:solidFill>
                <a:latin typeface="Arial" pitchFamily="34" charset="0"/>
              </a:rPr>
              <a:t>Process </a:t>
            </a:r>
            <a:r>
              <a:rPr lang="en-US" dirty="0">
                <a:solidFill>
                  <a:schemeClr val="bg1"/>
                </a:solidFill>
                <a:latin typeface="Arial" pitchFamily="34" charset="0"/>
              </a:rPr>
              <a:t>and individual performance KPI’s </a:t>
            </a:r>
            <a:r>
              <a:rPr lang="en-US" dirty="0" smtClean="0">
                <a:solidFill>
                  <a:schemeClr val="bg1"/>
                </a:solidFill>
                <a:latin typeface="Arial" pitchFamily="34" charset="0"/>
              </a:rPr>
              <a:t>linked</a:t>
            </a:r>
            <a:endParaRPr lang="en-US" dirty="0">
              <a:solidFill>
                <a:schemeClr val="bg1"/>
              </a:solidFill>
              <a:latin typeface="Arial" pitchFamily="34" charset="0"/>
            </a:endParaRPr>
          </a:p>
          <a:p>
            <a:pPr marL="117475" indent="-117475" fontAlgn="auto">
              <a:spcBef>
                <a:spcPts val="0"/>
              </a:spcBef>
              <a:spcAft>
                <a:spcPts val="0"/>
              </a:spcAft>
              <a:buFont typeface="Wingdings" pitchFamily="2" charset="2"/>
              <a:buChar char="§"/>
              <a:defRPr/>
            </a:pPr>
            <a:r>
              <a:rPr lang="en-US" dirty="0">
                <a:solidFill>
                  <a:schemeClr val="bg1"/>
                </a:solidFill>
                <a:latin typeface="Arial" pitchFamily="34" charset="0"/>
              </a:rPr>
              <a:t>Process improvement efforts ongoing</a:t>
            </a:r>
          </a:p>
          <a:p>
            <a:pPr marL="117475" indent="-117475" fontAlgn="auto">
              <a:spcBef>
                <a:spcPts val="0"/>
              </a:spcBef>
              <a:spcAft>
                <a:spcPts val="0"/>
              </a:spcAft>
              <a:buFont typeface="Wingdings" pitchFamily="2" charset="2"/>
              <a:buChar char="§"/>
              <a:defRPr/>
            </a:pPr>
            <a:r>
              <a:rPr lang="en-US" dirty="0">
                <a:solidFill>
                  <a:schemeClr val="bg1"/>
                </a:solidFill>
                <a:latin typeface="Arial" pitchFamily="34" charset="0"/>
              </a:rPr>
              <a:t>Joint and transparent planning and performance reporting with </a:t>
            </a:r>
            <a:r>
              <a:rPr lang="en-US" dirty="0" smtClean="0">
                <a:solidFill>
                  <a:schemeClr val="bg1"/>
                </a:solidFill>
                <a:latin typeface="Arial" pitchFamily="34" charset="0"/>
              </a:rPr>
              <a:t>stakeholders</a:t>
            </a:r>
            <a:endParaRPr lang="en-US" dirty="0">
              <a:solidFill>
                <a:schemeClr val="bg1"/>
              </a:solidFill>
              <a:latin typeface="Arial" pitchFamily="34" charset="0"/>
            </a:endParaRPr>
          </a:p>
          <a:p>
            <a:pPr fontAlgn="auto">
              <a:spcBef>
                <a:spcPts val="0"/>
              </a:spcBef>
              <a:spcAft>
                <a:spcPts val="0"/>
              </a:spcAft>
              <a:defRPr/>
            </a:pPr>
            <a:endParaRPr lang="en-US" dirty="0" smtClean="0">
              <a:solidFill>
                <a:schemeClr val="bg1"/>
              </a:solidFill>
              <a:latin typeface="Arial" pitchFamily="34" charset="0"/>
            </a:endParaRPr>
          </a:p>
          <a:p>
            <a:pPr fontAlgn="auto">
              <a:spcBef>
                <a:spcPts val="0"/>
              </a:spcBef>
              <a:spcAft>
                <a:spcPts val="0"/>
              </a:spcAft>
              <a:defRPr/>
            </a:pPr>
            <a:endParaRPr lang="en-US" dirty="0">
              <a:solidFill>
                <a:schemeClr val="bg1"/>
              </a:solidFill>
              <a:latin typeface="Arial" pitchFamily="34" charset="0"/>
            </a:endParaRPr>
          </a:p>
        </p:txBody>
      </p:sp>
      <p:grpSp>
        <p:nvGrpSpPr>
          <p:cNvPr id="25606" name="Group 2"/>
          <p:cNvGrpSpPr>
            <a:grpSpLocks/>
          </p:cNvGrpSpPr>
          <p:nvPr/>
        </p:nvGrpSpPr>
        <p:grpSpPr bwMode="auto">
          <a:xfrm>
            <a:off x="228600" y="2382082"/>
            <a:ext cx="4191001" cy="4247318"/>
            <a:chOff x="251520" y="2126537"/>
            <a:chExt cx="4129078" cy="3138667"/>
          </a:xfrm>
        </p:grpSpPr>
        <p:sp>
          <p:nvSpPr>
            <p:cNvPr id="5" name="TextBox 4"/>
            <p:cNvSpPr txBox="1"/>
            <p:nvPr/>
          </p:nvSpPr>
          <p:spPr>
            <a:xfrm>
              <a:off x="265798" y="2126537"/>
              <a:ext cx="4114800" cy="3108543"/>
            </a:xfrm>
            <a:prstGeom prst="rect">
              <a:avLst/>
            </a:prstGeom>
            <a:blipFill>
              <a:blip r:embed="rId3" cstate="print">
                <a:duotone>
                  <a:schemeClr val="accent6">
                    <a:shade val="45000"/>
                    <a:satMod val="135000"/>
                  </a:schemeClr>
                  <a:prstClr val="white"/>
                </a:duotone>
                <a:extLst>
                  <a:ext uri="{BEBA8EAE-BF5A-486C-A8C5-ECC9F3942E4B}">
                    <a14:imgProps xmlns:a14="http://schemas.microsoft.com/office/drawing/2010/main">
                      <a14:imgLayer r:embed="rId4">
                        <a14:imgEffect>
                          <a14:sharpenSoften amount="-2000"/>
                        </a14:imgEffect>
                        <a14:imgEffect>
                          <a14:colorTemperature colorTemp="4070"/>
                        </a14:imgEffect>
                        <a14:imgEffect>
                          <a14:saturation sat="53000"/>
                        </a14:imgEffect>
                        <a14:imgEffect>
                          <a14:brightnessContrast bright="30000" contrast="9000"/>
                        </a14:imgEffect>
                      </a14:imgLayer>
                    </a14:imgProps>
                  </a:ext>
                </a:extLst>
              </a:blip>
              <a:stretch>
                <a:fillRect/>
              </a:stretch>
            </a:blipFill>
            <a:scene3d>
              <a:camera prst="orthographicFront"/>
              <a:lightRig rig="threePt" dir="t"/>
            </a:scene3d>
            <a:sp3d>
              <a:bevelT/>
            </a:sp3d>
          </p:spPr>
          <p:txBody>
            <a:bodyPr/>
            <a:lstStyle/>
            <a:p>
              <a:pPr fontAlgn="auto">
                <a:spcBef>
                  <a:spcPts val="0"/>
                </a:spcBef>
                <a:spcAft>
                  <a:spcPts val="0"/>
                </a:spcAft>
                <a:defRPr/>
              </a:pPr>
              <a:endParaRPr lang="en-US" dirty="0">
                <a:solidFill>
                  <a:schemeClr val="bg2"/>
                </a:solidFill>
                <a:latin typeface="Arial" pitchFamily="34" charset="0"/>
              </a:endParaRPr>
            </a:p>
          </p:txBody>
        </p:sp>
        <p:sp>
          <p:nvSpPr>
            <p:cNvPr id="9" name="TextBox 8"/>
            <p:cNvSpPr txBox="1"/>
            <p:nvPr/>
          </p:nvSpPr>
          <p:spPr>
            <a:xfrm>
              <a:off x="251520" y="2153526"/>
              <a:ext cx="4114792" cy="3111678"/>
            </a:xfrm>
            <a:prstGeom prst="rect">
              <a:avLst/>
            </a:prstGeom>
            <a:noFill/>
          </p:spPr>
          <p:txBody>
            <a:bodyPr/>
            <a:lstStyle/>
            <a:p>
              <a:pPr fontAlgn="auto">
                <a:spcBef>
                  <a:spcPts val="0"/>
                </a:spcBef>
                <a:spcAft>
                  <a:spcPts val="0"/>
                </a:spcAft>
                <a:defRPr/>
              </a:pPr>
              <a:r>
                <a:rPr lang="en-US" dirty="0" smtClean="0">
                  <a:latin typeface="Arial" pitchFamily="34" charset="0"/>
                </a:rPr>
                <a:t>Public Procurement </a:t>
              </a:r>
              <a:r>
                <a:rPr lang="en-US" dirty="0">
                  <a:latin typeface="Arial" pitchFamily="34" charset="0"/>
                </a:rPr>
                <a:t>Past….</a:t>
              </a:r>
            </a:p>
            <a:p>
              <a:pPr fontAlgn="auto">
                <a:spcBef>
                  <a:spcPts val="0"/>
                </a:spcBef>
                <a:spcAft>
                  <a:spcPts val="0"/>
                </a:spcAft>
                <a:defRPr/>
              </a:pPr>
              <a:endParaRPr lang="en-US" dirty="0">
                <a:latin typeface="Arial" pitchFamily="34" charset="0"/>
              </a:endParaRPr>
            </a:p>
            <a:p>
              <a:pPr marL="117475" indent="-117475" fontAlgn="auto">
                <a:spcBef>
                  <a:spcPts val="0"/>
                </a:spcBef>
                <a:spcAft>
                  <a:spcPts val="0"/>
                </a:spcAft>
                <a:buFont typeface="Wingdings" pitchFamily="2" charset="2"/>
                <a:buChar char="§"/>
                <a:defRPr/>
              </a:pPr>
              <a:r>
                <a:rPr lang="en-US" dirty="0">
                  <a:latin typeface="Arial" pitchFamily="34" charset="0"/>
                </a:rPr>
                <a:t>Poor spend visibility</a:t>
              </a:r>
            </a:p>
            <a:p>
              <a:pPr marL="117475" indent="-117475" fontAlgn="auto">
                <a:spcBef>
                  <a:spcPts val="0"/>
                </a:spcBef>
                <a:spcAft>
                  <a:spcPts val="0"/>
                </a:spcAft>
                <a:buFont typeface="Wingdings" pitchFamily="2" charset="2"/>
                <a:buChar char="§"/>
                <a:defRPr/>
              </a:pPr>
              <a:r>
                <a:rPr lang="en-US" dirty="0">
                  <a:latin typeface="Arial" pitchFamily="34" charset="0"/>
                </a:rPr>
                <a:t>Unclear spend governance</a:t>
              </a:r>
            </a:p>
            <a:p>
              <a:pPr marL="117475" indent="-117475" fontAlgn="auto">
                <a:spcBef>
                  <a:spcPts val="0"/>
                </a:spcBef>
                <a:spcAft>
                  <a:spcPts val="0"/>
                </a:spcAft>
                <a:buFont typeface="Wingdings" pitchFamily="2" charset="2"/>
                <a:buChar char="§"/>
                <a:defRPr/>
              </a:pPr>
              <a:r>
                <a:rPr lang="en-US" dirty="0">
                  <a:latin typeface="Arial" pitchFamily="34" charset="0"/>
                </a:rPr>
                <a:t>Less than full sourcing coverage</a:t>
              </a:r>
            </a:p>
            <a:p>
              <a:pPr marL="117475" indent="-117475" fontAlgn="auto">
                <a:spcBef>
                  <a:spcPts val="0"/>
                </a:spcBef>
                <a:spcAft>
                  <a:spcPts val="0"/>
                </a:spcAft>
                <a:buFont typeface="Wingdings" pitchFamily="2" charset="2"/>
                <a:buChar char="§"/>
                <a:defRPr/>
              </a:pPr>
              <a:r>
                <a:rPr lang="en-US" dirty="0">
                  <a:latin typeface="Arial" pitchFamily="34" charset="0"/>
                </a:rPr>
                <a:t>Limited focus on productivity</a:t>
              </a:r>
            </a:p>
            <a:p>
              <a:pPr marL="117475" indent="-117475" fontAlgn="auto">
                <a:spcBef>
                  <a:spcPts val="0"/>
                </a:spcBef>
                <a:spcAft>
                  <a:spcPts val="0"/>
                </a:spcAft>
                <a:buFont typeface="Wingdings" pitchFamily="2" charset="2"/>
                <a:buChar char="§"/>
                <a:defRPr/>
              </a:pPr>
              <a:r>
                <a:rPr lang="en-US" dirty="0" smtClean="0">
                  <a:latin typeface="Arial" pitchFamily="34" charset="0"/>
                </a:rPr>
                <a:t>Price </a:t>
              </a:r>
              <a:r>
                <a:rPr lang="en-US" dirty="0" err="1" smtClean="0">
                  <a:latin typeface="Arial" pitchFamily="34" charset="0"/>
                </a:rPr>
                <a:t>vs</a:t>
              </a:r>
              <a:r>
                <a:rPr lang="en-US" dirty="0" smtClean="0">
                  <a:latin typeface="Arial" pitchFamily="34" charset="0"/>
                </a:rPr>
                <a:t> Value</a:t>
              </a:r>
            </a:p>
            <a:p>
              <a:pPr marL="117475" indent="-117475" fontAlgn="auto">
                <a:spcBef>
                  <a:spcPts val="0"/>
                </a:spcBef>
                <a:spcAft>
                  <a:spcPts val="0"/>
                </a:spcAft>
                <a:buFont typeface="Wingdings" pitchFamily="2" charset="2"/>
                <a:buChar char="§"/>
                <a:defRPr/>
              </a:pPr>
              <a:r>
                <a:rPr lang="en-US" dirty="0" smtClean="0">
                  <a:latin typeface="Arial" pitchFamily="34" charset="0"/>
                </a:rPr>
                <a:t>Results </a:t>
              </a:r>
              <a:r>
                <a:rPr lang="en-US" dirty="0">
                  <a:latin typeface="Arial" pitchFamily="34" charset="0"/>
                </a:rPr>
                <a:t>not </a:t>
              </a:r>
              <a:r>
                <a:rPr lang="en-US" dirty="0" smtClean="0">
                  <a:latin typeface="Arial" pitchFamily="34" charset="0"/>
                </a:rPr>
                <a:t>validated</a:t>
              </a:r>
              <a:endParaRPr lang="en-US" dirty="0">
                <a:latin typeface="Arial" pitchFamily="34" charset="0"/>
              </a:endParaRPr>
            </a:p>
            <a:p>
              <a:pPr marL="117475" indent="-117475" fontAlgn="auto">
                <a:spcBef>
                  <a:spcPts val="0"/>
                </a:spcBef>
                <a:spcAft>
                  <a:spcPts val="0"/>
                </a:spcAft>
                <a:buFont typeface="Wingdings" pitchFamily="2" charset="2"/>
                <a:buChar char="§"/>
                <a:defRPr/>
              </a:pPr>
              <a:r>
                <a:rPr lang="en-US" dirty="0">
                  <a:latin typeface="Arial" pitchFamily="34" charset="0"/>
                </a:rPr>
                <a:t>Few KPI’s tracked</a:t>
              </a:r>
            </a:p>
            <a:p>
              <a:pPr marL="117475" indent="-117475" fontAlgn="auto">
                <a:spcBef>
                  <a:spcPts val="0"/>
                </a:spcBef>
                <a:spcAft>
                  <a:spcPts val="0"/>
                </a:spcAft>
                <a:buFont typeface="Wingdings" pitchFamily="2" charset="2"/>
                <a:buChar char="§"/>
                <a:defRPr/>
              </a:pPr>
              <a:r>
                <a:rPr lang="en-US" dirty="0" smtClean="0">
                  <a:latin typeface="Arial" pitchFamily="34" charset="0"/>
                </a:rPr>
                <a:t>Limited technological functionality</a:t>
              </a:r>
            </a:p>
            <a:p>
              <a:pPr marL="117475" indent="-117475" fontAlgn="auto">
                <a:spcBef>
                  <a:spcPts val="0"/>
                </a:spcBef>
                <a:spcAft>
                  <a:spcPts val="0"/>
                </a:spcAft>
                <a:buFont typeface="Wingdings" pitchFamily="2" charset="2"/>
                <a:buChar char="§"/>
                <a:defRPr/>
              </a:pPr>
              <a:r>
                <a:rPr lang="en-US" dirty="0" smtClean="0">
                  <a:latin typeface="Arial" pitchFamily="34" charset="0"/>
                </a:rPr>
                <a:t>Process/Legal focus</a:t>
              </a:r>
              <a:endParaRPr lang="en-US" dirty="0">
                <a:latin typeface="Arial" pitchFamily="34" charset="0"/>
              </a:endParaRPr>
            </a:p>
          </p:txBody>
        </p:sp>
      </p:grpSp>
      <p:sp>
        <p:nvSpPr>
          <p:cNvPr id="25607"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FCF5367B-217C-4ECD-93E5-FF171CC9DD80}" type="slidenum">
              <a:rPr lang="en-US">
                <a:solidFill>
                  <a:srgbClr val="002E8A"/>
                </a:solidFill>
              </a:rPr>
              <a:pPr/>
              <a:t>2</a:t>
            </a:fld>
            <a:endParaRPr lang="en-US">
              <a:solidFill>
                <a:srgbClr val="002E8A"/>
              </a:solidFill>
            </a:endParaRPr>
          </a:p>
        </p:txBody>
      </p:sp>
    </p:spTree>
    <p:extLst>
      <p:ext uri="{BB962C8B-B14F-4D97-AF65-F5344CB8AC3E}">
        <p14:creationId xmlns:p14="http://schemas.microsoft.com/office/powerpoint/2010/main" val="1663277326"/>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Is procurement sufficiently esoteric to justify a profession?</a:t>
            </a:r>
            <a:endParaRPr lang="en-US" dirty="0"/>
          </a:p>
        </p:txBody>
      </p:sp>
      <p:sp>
        <p:nvSpPr>
          <p:cNvPr id="3" name="Content Placeholder 2"/>
          <p:cNvSpPr>
            <a:spLocks noGrp="1"/>
          </p:cNvSpPr>
          <p:nvPr>
            <p:ph idx="1"/>
          </p:nvPr>
        </p:nvSpPr>
        <p:spPr>
          <a:xfrm>
            <a:off x="768096" y="2286000"/>
            <a:ext cx="7842504" cy="4023360"/>
          </a:xfrm>
        </p:spPr>
        <p:txBody>
          <a:bodyPr>
            <a:noAutofit/>
          </a:bodyPr>
          <a:lstStyle/>
          <a:p>
            <a:r>
              <a:rPr lang="en-US" sz="2400" dirty="0" smtClean="0"/>
              <a:t>In order to determine if public procurement requires a set of certain competencies, we must first determine what we actually do. Which in turns forms the basis for proper human capital/talent management.</a:t>
            </a:r>
          </a:p>
          <a:p>
            <a:r>
              <a:rPr lang="en-US" sz="2400" dirty="0" smtClean="0"/>
              <a:t>The first step is to conduct a job analysis of all procurement practitioners within an organization to determine the knowledge, skills, and abilities to do the job proficiently.</a:t>
            </a:r>
          </a:p>
          <a:p>
            <a:r>
              <a:rPr lang="en-US" sz="2400" dirty="0" smtClean="0"/>
              <a:t>Once the job analysis is completed we can then look at “gaps” between what is being done, and what is needed to advance the field to achieve procurement excellence.</a:t>
            </a:r>
          </a:p>
          <a:p>
            <a:r>
              <a:rPr lang="en-US" sz="2400" dirty="0" smtClean="0"/>
              <a:t> </a:t>
            </a:r>
            <a:endParaRPr lang="en-US" sz="2400" dirty="0"/>
          </a:p>
        </p:txBody>
      </p:sp>
    </p:spTree>
    <p:extLst>
      <p:ext uri="{BB962C8B-B14F-4D97-AF65-F5344CB8AC3E}">
        <p14:creationId xmlns:p14="http://schemas.microsoft.com/office/powerpoint/2010/main" val="58862577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 job analysis?</a:t>
            </a:r>
          </a:p>
        </p:txBody>
      </p:sp>
      <p:sp>
        <p:nvSpPr>
          <p:cNvPr id="3" name="Content Placeholder 2"/>
          <p:cNvSpPr>
            <a:spLocks noGrp="1"/>
          </p:cNvSpPr>
          <p:nvPr>
            <p:ph idx="1"/>
          </p:nvPr>
        </p:nvSpPr>
        <p:spPr>
          <a:xfrm>
            <a:off x="768096" y="1981200"/>
            <a:ext cx="7918704" cy="4572000"/>
          </a:xfrm>
        </p:spPr>
        <p:txBody>
          <a:bodyPr>
            <a:normAutofit/>
          </a:bodyPr>
          <a:lstStyle/>
          <a:p>
            <a:r>
              <a:rPr lang="en-US" dirty="0"/>
              <a:t>A job analysis is a process used to identify the important tasks of a job and the essential competencies an individual should possess to satisfactorily perform the job</a:t>
            </a:r>
          </a:p>
          <a:p>
            <a:pPr lvl="1"/>
            <a:r>
              <a:rPr lang="en-US" sz="2000" dirty="0"/>
              <a:t>Knowledge- The body of information needed to perform the job.</a:t>
            </a:r>
          </a:p>
          <a:p>
            <a:pPr lvl="1"/>
            <a:r>
              <a:rPr lang="en-US" sz="2000" dirty="0"/>
              <a:t>Skills- The capability to perform a learned task.</a:t>
            </a:r>
          </a:p>
          <a:p>
            <a:pPr lvl="1"/>
            <a:r>
              <a:rPr lang="en-US" sz="2000" dirty="0"/>
              <a:t>Ability- The capability to perform non-motor task.</a:t>
            </a:r>
          </a:p>
          <a:p>
            <a:r>
              <a:rPr lang="en-US" dirty="0"/>
              <a:t>Good job analyses provide a basis for identifying the duties and responsibilities associated with a job to determine the appropriate position classification</a:t>
            </a:r>
          </a:p>
          <a:p>
            <a:r>
              <a:rPr lang="en-US" dirty="0"/>
              <a:t>Position classifications can help ensure equal pay, benefits and associated status for substantially equal work</a:t>
            </a:r>
          </a:p>
          <a:p>
            <a:r>
              <a:rPr lang="en-US" dirty="0"/>
              <a:t>Moreover, generally accepted position classifications are needed to unite the field.</a:t>
            </a:r>
          </a:p>
          <a:p>
            <a:endParaRPr lang="en-US" dirty="0"/>
          </a:p>
          <a:p>
            <a:endParaRPr lang="en-US" dirty="0"/>
          </a:p>
        </p:txBody>
      </p:sp>
    </p:spTree>
    <p:extLst>
      <p:ext uri="{BB962C8B-B14F-4D97-AF65-F5344CB8AC3E}">
        <p14:creationId xmlns:p14="http://schemas.microsoft.com/office/powerpoint/2010/main" val="51136521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final statement</a:t>
            </a:r>
            <a:endParaRPr lang="en-US" dirty="0"/>
          </a:p>
        </p:txBody>
      </p:sp>
      <p:sp>
        <p:nvSpPr>
          <p:cNvPr id="3" name="Content Placeholder 2"/>
          <p:cNvSpPr>
            <a:spLocks noGrp="1"/>
          </p:cNvSpPr>
          <p:nvPr>
            <p:ph idx="1"/>
          </p:nvPr>
        </p:nvSpPr>
        <p:spPr/>
        <p:txBody>
          <a:bodyPr>
            <a:normAutofit/>
          </a:bodyPr>
          <a:lstStyle/>
          <a:p>
            <a:pPr marL="0" indent="0">
              <a:buNone/>
            </a:pPr>
            <a:r>
              <a:rPr lang="en-US" sz="4000" dirty="0"/>
              <a:t>“Professional is not a label you give yourself – it is a description you hope others will apply to you.”  </a:t>
            </a:r>
            <a:endParaRPr lang="en-US" sz="3200" dirty="0"/>
          </a:p>
          <a:p>
            <a:pPr marL="0" indent="0">
              <a:buNone/>
            </a:pPr>
            <a:endParaRPr lang="en-US" sz="3200" dirty="0"/>
          </a:p>
          <a:p>
            <a:pPr marL="0" indent="0">
              <a:buNone/>
            </a:pPr>
            <a:r>
              <a:rPr lang="en-US" sz="3200" dirty="0"/>
              <a:t>			David </a:t>
            </a:r>
            <a:r>
              <a:rPr lang="en-US" sz="3200" dirty="0" err="1"/>
              <a:t>Maister</a:t>
            </a:r>
            <a:r>
              <a:rPr lang="en-US" sz="3200" dirty="0"/>
              <a:t> </a:t>
            </a:r>
          </a:p>
          <a:p>
            <a:pPr marL="0" indent="0">
              <a:buNone/>
            </a:pPr>
            <a:r>
              <a:rPr lang="en-US" sz="3200" dirty="0"/>
              <a:t>			True Professionalism</a:t>
            </a:r>
          </a:p>
          <a:p>
            <a:endParaRPr lang="en-US" sz="4000" dirty="0"/>
          </a:p>
        </p:txBody>
      </p:sp>
    </p:spTree>
    <p:extLst>
      <p:ext uri="{BB962C8B-B14F-4D97-AF65-F5344CB8AC3E}">
        <p14:creationId xmlns:p14="http://schemas.microsoft.com/office/powerpoint/2010/main" val="59091209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kern="0" dirty="0" smtClean="0"/>
              <a:t>In conclusion: procurement needs to be </a:t>
            </a:r>
            <a:r>
              <a:rPr lang="en-US" kern="0" dirty="0"/>
              <a:t>more strategic and drive </a:t>
            </a:r>
            <a:r>
              <a:rPr lang="en-US" kern="0" dirty="0" smtClean="0"/>
              <a:t>performance</a:t>
            </a:r>
            <a:endParaRPr lang="en-US" dirty="0"/>
          </a:p>
        </p:txBody>
      </p:sp>
      <p:graphicFrame>
        <p:nvGraphicFramePr>
          <p:cNvPr id="4" name="Table 3"/>
          <p:cNvGraphicFramePr>
            <a:graphicFrameLocks noGrp="1"/>
          </p:cNvGraphicFramePr>
          <p:nvPr>
            <p:extLst/>
          </p:nvPr>
        </p:nvGraphicFramePr>
        <p:xfrm>
          <a:off x="569912" y="2627312"/>
          <a:ext cx="3995738" cy="2401888"/>
        </p:xfrm>
        <a:graphic>
          <a:graphicData uri="http://schemas.openxmlformats.org/drawingml/2006/table">
            <a:tbl>
              <a:tblPr firstRow="1" bandRow="1">
                <a:tableStyleId>{5C22544A-7EE6-4342-B048-85BDC9FD1C3A}</a:tableStyleId>
              </a:tblPr>
              <a:tblGrid>
                <a:gridCol w="3995738"/>
              </a:tblGrid>
              <a:tr h="445698">
                <a:tc>
                  <a:txBody>
                    <a:bodyPr/>
                    <a:lstStyle/>
                    <a:p>
                      <a:pPr marL="0" indent="0" algn="ctr">
                        <a:buClr>
                          <a:schemeClr val="tx1"/>
                        </a:buClr>
                        <a:buFont typeface="Arial" pitchFamily="34" charset="0"/>
                        <a:buNone/>
                      </a:pPr>
                      <a:r>
                        <a:rPr lang="en-US" sz="1400" dirty="0" smtClean="0">
                          <a:solidFill>
                            <a:schemeClr val="bg1"/>
                          </a:solidFill>
                          <a:latin typeface="Arial" pitchFamily="34" charset="0"/>
                          <a:cs typeface="Arial" pitchFamily="34" charset="0"/>
                        </a:rPr>
                        <a:t>Increased Pressure for Value Delivery</a:t>
                      </a:r>
                      <a:endParaRPr lang="en-US" sz="1400" dirty="0">
                        <a:solidFill>
                          <a:schemeClr val="bg1"/>
                        </a:solidFill>
                        <a:latin typeface="Arial" pitchFamily="34" charset="0"/>
                        <a:cs typeface="Arial" pitchFamily="34" charset="0"/>
                      </a:endParaRPr>
                    </a:p>
                  </a:txBody>
                  <a:tcPr marL="91424" marR="91424" marT="45709" marB="4570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r>
              <a:tr h="1956190">
                <a:tc>
                  <a:txBody>
                    <a:bodyPr/>
                    <a:lstStyle/>
                    <a:p>
                      <a:pPr marL="285750" indent="-285750" eaLnBrk="0" hangingPunct="0">
                        <a:lnSpc>
                          <a:spcPct val="90000"/>
                        </a:lnSpc>
                        <a:spcBef>
                          <a:spcPct val="90000"/>
                        </a:spcBef>
                        <a:buClr>
                          <a:schemeClr val="tx1"/>
                        </a:buClr>
                        <a:buFont typeface="Arial" pitchFamily="34" charset="0"/>
                        <a:buChar char="•"/>
                      </a:pPr>
                      <a:r>
                        <a:rPr lang="en-US" sz="1400" b="0" kern="0" dirty="0" smtClean="0">
                          <a:latin typeface="Arial" pitchFamily="34" charset="0"/>
                          <a:cs typeface="Arial" pitchFamily="34" charset="0"/>
                        </a:rPr>
                        <a:t>Greater </a:t>
                      </a:r>
                      <a:r>
                        <a:rPr lang="en-US" sz="1400" b="1" kern="0" dirty="0" smtClean="0">
                          <a:latin typeface="Arial" pitchFamily="34" charset="0"/>
                          <a:cs typeface="Arial" pitchFamily="34" charset="0"/>
                        </a:rPr>
                        <a:t>alignment</a:t>
                      </a:r>
                      <a:r>
                        <a:rPr lang="en-US" sz="1400" b="0" kern="0" dirty="0" smtClean="0">
                          <a:latin typeface="Arial" pitchFamily="34" charset="0"/>
                          <a:cs typeface="Arial" pitchFamily="34" charset="0"/>
                        </a:rPr>
                        <a:t> with stakeholder needs</a:t>
                      </a:r>
                    </a:p>
                    <a:p>
                      <a:pPr marL="285750" indent="-285750" eaLnBrk="0" hangingPunct="0">
                        <a:lnSpc>
                          <a:spcPct val="90000"/>
                        </a:lnSpc>
                        <a:spcBef>
                          <a:spcPct val="90000"/>
                        </a:spcBef>
                        <a:buClr>
                          <a:schemeClr val="tx1"/>
                        </a:buClr>
                        <a:buFont typeface="Arial" pitchFamily="34" charset="0"/>
                        <a:buChar char="•"/>
                      </a:pPr>
                      <a:r>
                        <a:rPr lang="en-US" sz="1400" b="0" kern="0" dirty="0" smtClean="0">
                          <a:latin typeface="Arial" pitchFamily="34" charset="0"/>
                          <a:cs typeface="Arial" pitchFamily="34" charset="0"/>
                        </a:rPr>
                        <a:t>Continued </a:t>
                      </a:r>
                      <a:r>
                        <a:rPr lang="en-US" sz="1400" b="1" kern="0" dirty="0" smtClean="0">
                          <a:latin typeface="Arial" pitchFamily="34" charset="0"/>
                          <a:cs typeface="Arial" pitchFamily="34" charset="0"/>
                        </a:rPr>
                        <a:t>TCO reduction</a:t>
                      </a:r>
                    </a:p>
                    <a:p>
                      <a:pPr marL="285750" indent="-285750" eaLnBrk="0" hangingPunct="0">
                        <a:lnSpc>
                          <a:spcPct val="90000"/>
                        </a:lnSpc>
                        <a:spcBef>
                          <a:spcPct val="90000"/>
                        </a:spcBef>
                        <a:buClr>
                          <a:schemeClr val="tx1"/>
                        </a:buClr>
                        <a:buFont typeface="Arial" pitchFamily="34" charset="0"/>
                        <a:buChar char="•"/>
                      </a:pPr>
                      <a:r>
                        <a:rPr lang="en-US" sz="1400" b="0" kern="0" dirty="0" smtClean="0">
                          <a:latin typeface="Arial" pitchFamily="34" charset="0"/>
                          <a:cs typeface="Arial" pitchFamily="34" charset="0"/>
                        </a:rPr>
                        <a:t>More and faster </a:t>
                      </a:r>
                      <a:r>
                        <a:rPr lang="en-US" sz="1400" b="1" kern="0" dirty="0" smtClean="0">
                          <a:latin typeface="Arial" pitchFamily="34" charset="0"/>
                          <a:cs typeface="Arial" pitchFamily="34" charset="0"/>
                        </a:rPr>
                        <a:t>innovation</a:t>
                      </a:r>
                    </a:p>
                    <a:p>
                      <a:pPr marL="285750" indent="-285750" eaLnBrk="0" hangingPunct="0">
                        <a:lnSpc>
                          <a:spcPct val="90000"/>
                        </a:lnSpc>
                        <a:spcBef>
                          <a:spcPct val="90000"/>
                        </a:spcBef>
                        <a:buClr>
                          <a:schemeClr val="tx1"/>
                        </a:buClr>
                        <a:buFont typeface="Arial" pitchFamily="34" charset="0"/>
                        <a:buChar char="•"/>
                      </a:pPr>
                      <a:r>
                        <a:rPr lang="en-US" sz="1400" b="0" kern="0" dirty="0" smtClean="0">
                          <a:latin typeface="Arial" pitchFamily="34" charset="0"/>
                          <a:cs typeface="Arial" pitchFamily="34" charset="0"/>
                        </a:rPr>
                        <a:t>Proactive</a:t>
                      </a:r>
                      <a:r>
                        <a:rPr lang="en-US" sz="1400" b="0" kern="0" baseline="0" dirty="0" smtClean="0">
                          <a:latin typeface="Arial" pitchFamily="34" charset="0"/>
                          <a:cs typeface="Arial" pitchFamily="34" charset="0"/>
                        </a:rPr>
                        <a:t> </a:t>
                      </a:r>
                      <a:r>
                        <a:rPr lang="en-US" sz="1400" b="1" kern="0" baseline="0" dirty="0" smtClean="0">
                          <a:latin typeface="Arial" pitchFamily="34" charset="0"/>
                          <a:cs typeface="Arial" pitchFamily="34" charset="0"/>
                        </a:rPr>
                        <a:t>r</a:t>
                      </a:r>
                      <a:r>
                        <a:rPr lang="en-US" sz="1400" b="1" kern="0" dirty="0" smtClean="0">
                          <a:latin typeface="Arial" pitchFamily="34" charset="0"/>
                          <a:cs typeface="Arial" pitchFamily="34" charset="0"/>
                        </a:rPr>
                        <a:t>isk management</a:t>
                      </a:r>
                    </a:p>
                  </a:txBody>
                  <a:tcPr marL="91424" marR="91424" marT="45709" marB="4570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bl>
          </a:graphicData>
        </a:graphic>
      </p:graphicFrame>
      <p:graphicFrame>
        <p:nvGraphicFramePr>
          <p:cNvPr id="5" name="Table 4"/>
          <p:cNvGraphicFramePr>
            <a:graphicFrameLocks noGrp="1"/>
          </p:cNvGraphicFramePr>
          <p:nvPr>
            <p:extLst/>
          </p:nvPr>
        </p:nvGraphicFramePr>
        <p:xfrm>
          <a:off x="4746625" y="2627312"/>
          <a:ext cx="3995737" cy="2401888"/>
        </p:xfrm>
        <a:graphic>
          <a:graphicData uri="http://schemas.openxmlformats.org/drawingml/2006/table">
            <a:tbl>
              <a:tblPr firstRow="1" bandRow="1">
                <a:tableStyleId>{5C22544A-7EE6-4342-B048-85BDC9FD1C3A}</a:tableStyleId>
              </a:tblPr>
              <a:tblGrid>
                <a:gridCol w="3995737"/>
              </a:tblGrid>
              <a:tr h="445698">
                <a:tc>
                  <a:txBody>
                    <a:bodyPr/>
                    <a:lstStyle/>
                    <a:p>
                      <a:pPr marL="0" indent="0" algn="ctr">
                        <a:buClrTx/>
                        <a:buFont typeface="Arial" pitchFamily="34" charset="0"/>
                        <a:buNone/>
                      </a:pPr>
                      <a:r>
                        <a:rPr lang="en-US" sz="1400" dirty="0" smtClean="0">
                          <a:solidFill>
                            <a:schemeClr val="bg1"/>
                          </a:solidFill>
                          <a:latin typeface="Arial" pitchFamily="34" charset="0"/>
                          <a:cs typeface="Arial" pitchFamily="34" charset="0"/>
                        </a:rPr>
                        <a:t>Key Requirements</a:t>
                      </a:r>
                      <a:r>
                        <a:rPr lang="en-US" sz="1400" baseline="0" dirty="0" smtClean="0">
                          <a:solidFill>
                            <a:schemeClr val="bg1"/>
                          </a:solidFill>
                          <a:latin typeface="Arial" pitchFamily="34" charset="0"/>
                          <a:cs typeface="Arial" pitchFamily="34" charset="0"/>
                        </a:rPr>
                        <a:t> </a:t>
                      </a:r>
                      <a:r>
                        <a:rPr lang="en-US" sz="1400" dirty="0" smtClean="0">
                          <a:solidFill>
                            <a:schemeClr val="bg1"/>
                          </a:solidFill>
                          <a:latin typeface="Arial" pitchFamily="34" charset="0"/>
                          <a:cs typeface="Arial" pitchFamily="34" charset="0"/>
                        </a:rPr>
                        <a:t>to Make It Happen</a:t>
                      </a:r>
                      <a:endParaRPr lang="en-US" sz="1400" dirty="0">
                        <a:solidFill>
                          <a:schemeClr val="bg1"/>
                        </a:solidFill>
                        <a:latin typeface="Arial" pitchFamily="34" charset="0"/>
                        <a:cs typeface="Arial" pitchFamily="34" charset="0"/>
                      </a:endParaRPr>
                    </a:p>
                  </a:txBody>
                  <a:tcPr marL="91424" marR="91424" marT="45709" marB="4570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r>
              <a:tr h="1956190">
                <a:tc>
                  <a:txBody>
                    <a:bodyPr/>
                    <a:lstStyle/>
                    <a:p>
                      <a:pPr marL="285750" indent="-285750" eaLnBrk="0" hangingPunct="0">
                        <a:lnSpc>
                          <a:spcPct val="90000"/>
                        </a:lnSpc>
                        <a:spcBef>
                          <a:spcPct val="90000"/>
                        </a:spcBef>
                        <a:buClrTx/>
                        <a:buFont typeface="Arial" pitchFamily="34" charset="0"/>
                        <a:buChar char="•"/>
                      </a:pPr>
                      <a:r>
                        <a:rPr lang="en-US" sz="1400" b="0" kern="0" dirty="0" smtClean="0">
                          <a:solidFill>
                            <a:schemeClr val="tx1"/>
                          </a:solidFill>
                          <a:latin typeface="Arial" pitchFamily="34" charset="0"/>
                          <a:cs typeface="Arial" pitchFamily="34" charset="0"/>
                        </a:rPr>
                        <a:t>Improved</a:t>
                      </a:r>
                      <a:r>
                        <a:rPr lang="en-US" sz="1400" b="1" kern="0" dirty="0" smtClean="0">
                          <a:solidFill>
                            <a:schemeClr val="tx1"/>
                          </a:solidFill>
                          <a:latin typeface="Arial" pitchFamily="34" charset="0"/>
                          <a:cs typeface="Arial" pitchFamily="34" charset="0"/>
                        </a:rPr>
                        <a:t> collaboration capabilities </a:t>
                      </a:r>
                    </a:p>
                    <a:p>
                      <a:pPr marL="285750" indent="-285750" eaLnBrk="0" hangingPunct="0">
                        <a:lnSpc>
                          <a:spcPct val="90000"/>
                        </a:lnSpc>
                        <a:spcBef>
                          <a:spcPct val="90000"/>
                        </a:spcBef>
                        <a:buClrTx/>
                        <a:buFont typeface="Arial" pitchFamily="34" charset="0"/>
                        <a:buChar char="•"/>
                      </a:pPr>
                      <a:r>
                        <a:rPr lang="en-US" sz="1400" b="0" kern="0" dirty="0" smtClean="0">
                          <a:solidFill>
                            <a:schemeClr val="tx1"/>
                          </a:solidFill>
                          <a:latin typeface="Arial" pitchFamily="34" charset="0"/>
                          <a:cs typeface="Arial" pitchFamily="34" charset="0"/>
                        </a:rPr>
                        <a:t>Integrated</a:t>
                      </a:r>
                      <a:r>
                        <a:rPr lang="en-US" sz="1400" b="0" kern="0" baseline="0" dirty="0" smtClean="0">
                          <a:solidFill>
                            <a:schemeClr val="tx1"/>
                          </a:solidFill>
                          <a:latin typeface="Arial" pitchFamily="34" charset="0"/>
                          <a:cs typeface="Arial" pitchFamily="34" charset="0"/>
                        </a:rPr>
                        <a:t> </a:t>
                      </a:r>
                      <a:r>
                        <a:rPr lang="en-US" sz="1400" b="1" kern="0" baseline="0" dirty="0" smtClean="0">
                          <a:solidFill>
                            <a:schemeClr val="tx1"/>
                          </a:solidFill>
                          <a:latin typeface="Arial" pitchFamily="34" charset="0"/>
                          <a:cs typeface="Arial" pitchFamily="34" charset="0"/>
                        </a:rPr>
                        <a:t>p</a:t>
                      </a:r>
                      <a:r>
                        <a:rPr lang="en-US" sz="1400" b="1" kern="0" dirty="0" smtClean="0">
                          <a:solidFill>
                            <a:schemeClr val="tx1"/>
                          </a:solidFill>
                          <a:latin typeface="Arial" pitchFamily="34" charset="0"/>
                          <a:cs typeface="Arial" pitchFamily="34" charset="0"/>
                        </a:rPr>
                        <a:t>erformance management</a:t>
                      </a:r>
                    </a:p>
                    <a:p>
                      <a:pPr marL="285750" indent="-285750" eaLnBrk="0" hangingPunct="0">
                        <a:lnSpc>
                          <a:spcPct val="90000"/>
                        </a:lnSpc>
                        <a:spcBef>
                          <a:spcPct val="90000"/>
                        </a:spcBef>
                        <a:buClrTx/>
                        <a:buFont typeface="Arial" pitchFamily="34" charset="0"/>
                        <a:buChar char="•"/>
                      </a:pPr>
                      <a:r>
                        <a:rPr lang="en-US" sz="1400" b="0" kern="0" dirty="0" smtClean="0">
                          <a:solidFill>
                            <a:schemeClr val="tx1"/>
                          </a:solidFill>
                          <a:latin typeface="Arial" pitchFamily="34" charset="0"/>
                          <a:cs typeface="Arial" pitchFamily="34" charset="0"/>
                        </a:rPr>
                        <a:t>Pervasive </a:t>
                      </a:r>
                      <a:r>
                        <a:rPr lang="en-US" sz="1400" b="1" kern="0" dirty="0" smtClean="0">
                          <a:solidFill>
                            <a:schemeClr val="tx1"/>
                          </a:solidFill>
                          <a:latin typeface="Arial" pitchFamily="34" charset="0"/>
                          <a:cs typeface="Arial" pitchFamily="34" charset="0"/>
                        </a:rPr>
                        <a:t>technology</a:t>
                      </a:r>
                    </a:p>
                    <a:p>
                      <a:pPr marL="285750" marR="0" lvl="0" indent="-285750" algn="l" defTabSz="914400" rtl="0" eaLnBrk="0" fontAlgn="base" latinLnBrk="0" hangingPunct="0">
                        <a:lnSpc>
                          <a:spcPct val="90000"/>
                        </a:lnSpc>
                        <a:spcBef>
                          <a:spcPct val="90000"/>
                        </a:spcBef>
                        <a:spcAft>
                          <a:spcPct val="0"/>
                        </a:spcAft>
                        <a:buClrTx/>
                        <a:buSzTx/>
                        <a:buFont typeface="Arial" pitchFamily="34" charset="0"/>
                        <a:buChar char="•"/>
                        <a:tabLst/>
                        <a:defRPr/>
                      </a:pPr>
                      <a:r>
                        <a:rPr kumimoji="0" lang="en-US" sz="1400" b="0" i="0" u="none" strike="noStrike" kern="0" cap="none" spc="0" normalizeH="0" baseline="0" noProof="0" dirty="0" smtClean="0">
                          <a:ln>
                            <a:noFill/>
                          </a:ln>
                          <a:solidFill>
                            <a:schemeClr val="tx1"/>
                          </a:solidFill>
                          <a:effectLst/>
                          <a:uLnTx/>
                          <a:uFillTx/>
                          <a:latin typeface="Arial" pitchFamily="34" charset="0"/>
                          <a:ea typeface="+mn-ea"/>
                          <a:cs typeface="Arial" pitchFamily="34" charset="0"/>
                        </a:rPr>
                        <a:t>Creative </a:t>
                      </a:r>
                      <a:r>
                        <a:rPr kumimoji="0" lang="en-US" sz="1400" b="1" i="0" u="none" strike="noStrike" kern="0" cap="none" spc="0" normalizeH="0" baseline="0" noProof="0" dirty="0" smtClean="0">
                          <a:ln>
                            <a:noFill/>
                          </a:ln>
                          <a:solidFill>
                            <a:schemeClr val="tx1"/>
                          </a:solidFill>
                          <a:effectLst/>
                          <a:uLnTx/>
                          <a:uFillTx/>
                          <a:latin typeface="Arial" pitchFamily="34" charset="0"/>
                          <a:ea typeface="+mn-ea"/>
                          <a:cs typeface="Arial" pitchFamily="34" charset="0"/>
                        </a:rPr>
                        <a:t>talent management</a:t>
                      </a:r>
                    </a:p>
                  </a:txBody>
                  <a:tcPr marL="91424" marR="91424" marT="45709" marB="4570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bl>
          </a:graphicData>
        </a:graphic>
      </p:graphicFrame>
      <p:sp>
        <p:nvSpPr>
          <p:cNvPr id="6" name="Text Box 21"/>
          <p:cNvSpPr txBox="1">
            <a:spLocks noChangeArrowheads="1"/>
          </p:cNvSpPr>
          <p:nvPr>
            <p:custDataLst>
              <p:tags r:id="rId1"/>
            </p:custDataLst>
          </p:nvPr>
        </p:nvSpPr>
        <p:spPr bwMode="auto">
          <a:xfrm>
            <a:off x="533400" y="5194208"/>
            <a:ext cx="8245475" cy="1087203"/>
          </a:xfrm>
          <a:prstGeom prst="rect">
            <a:avLst/>
          </a:prstGeom>
          <a:solidFill>
            <a:schemeClr val="bg1">
              <a:lumMod val="85000"/>
            </a:schemeClr>
          </a:solidFill>
          <a:ln w="12700" algn="ctr">
            <a:solidFill>
              <a:schemeClr val="tx1"/>
            </a:solidFill>
            <a:miter lim="800000"/>
            <a:headEnd/>
            <a:tailEnd/>
          </a:ln>
        </p:spPr>
        <p:txBody>
          <a:bodyPr lIns="72000" tIns="72000" rIns="72000" bIns="72000" anchor="ctr">
            <a:spAutoFit/>
          </a:bodyPr>
          <a:lstStyle/>
          <a:p>
            <a:pPr algn="ctr" fontAlgn="auto">
              <a:lnSpc>
                <a:spcPct val="85000"/>
              </a:lnSpc>
              <a:spcBef>
                <a:spcPts val="0"/>
              </a:spcBef>
              <a:spcAft>
                <a:spcPts val="0"/>
              </a:spcAft>
              <a:buClr>
                <a:schemeClr val="bg2"/>
              </a:buClr>
              <a:defRPr/>
            </a:pPr>
            <a:r>
              <a:rPr lang="en-US" sz="2400" dirty="0" smtClean="0">
                <a:latin typeface="Arial" pitchFamily="34" charset="0"/>
              </a:rPr>
              <a:t>Remember: We can have the most well thought-out legal </a:t>
            </a:r>
          </a:p>
          <a:p>
            <a:pPr algn="ctr" fontAlgn="auto">
              <a:lnSpc>
                <a:spcPct val="85000"/>
              </a:lnSpc>
              <a:spcBef>
                <a:spcPts val="0"/>
              </a:spcBef>
              <a:spcAft>
                <a:spcPts val="0"/>
              </a:spcAft>
              <a:buClr>
                <a:schemeClr val="bg2"/>
              </a:buClr>
              <a:defRPr/>
            </a:pPr>
            <a:r>
              <a:rPr lang="en-US" sz="2400" dirty="0" smtClean="0">
                <a:latin typeface="Arial" pitchFamily="34" charset="0"/>
              </a:rPr>
              <a:t>and process frameworks in place, but it is the professional that drives procurement excellence!</a:t>
            </a:r>
            <a:endParaRPr lang="en-US" sz="2400" dirty="0">
              <a:latin typeface="Arial" pitchFamily="34" charset="0"/>
            </a:endParaRPr>
          </a:p>
        </p:txBody>
      </p:sp>
    </p:spTree>
    <p:extLst>
      <p:ext uri="{BB962C8B-B14F-4D97-AF65-F5344CB8AC3E}">
        <p14:creationId xmlns:p14="http://schemas.microsoft.com/office/powerpoint/2010/main" val="171267129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endParaRPr lang="en-US" sz="4400" dirty="0" smtClean="0"/>
          </a:p>
          <a:p>
            <a:pPr marL="0" indent="0" algn="ctr">
              <a:buNone/>
            </a:pPr>
            <a:r>
              <a:rPr lang="en-US" sz="4400" dirty="0" smtClean="0"/>
              <a:t>Thank you. Any questions?</a:t>
            </a:r>
            <a:endParaRPr lang="en-US" sz="4400" dirty="0"/>
          </a:p>
        </p:txBody>
      </p:sp>
    </p:spTree>
    <p:extLst>
      <p:ext uri="{BB962C8B-B14F-4D97-AF65-F5344CB8AC3E}">
        <p14:creationId xmlns:p14="http://schemas.microsoft.com/office/powerpoint/2010/main" val="110776454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8096" y="609600"/>
            <a:ext cx="7918704" cy="1499616"/>
          </a:xfrm>
        </p:spPr>
        <p:txBody>
          <a:bodyPr/>
          <a:lstStyle/>
          <a:p>
            <a:r>
              <a:rPr lang="en-US" dirty="0" smtClean="0"/>
              <a:t>Let us look at this Conference’s themes</a:t>
            </a:r>
            <a:endParaRPr lang="en-US" dirty="0"/>
          </a:p>
        </p:txBody>
      </p:sp>
      <p:sp>
        <p:nvSpPr>
          <p:cNvPr id="3" name="Content Placeholder 2"/>
          <p:cNvSpPr>
            <a:spLocks noGrp="1"/>
          </p:cNvSpPr>
          <p:nvPr>
            <p:ph idx="1"/>
          </p:nvPr>
        </p:nvSpPr>
        <p:spPr>
          <a:xfrm>
            <a:off x="533400" y="1905000"/>
            <a:ext cx="8382000" cy="4495800"/>
          </a:xfrm>
        </p:spPr>
        <p:txBody>
          <a:bodyPr>
            <a:noAutofit/>
          </a:bodyPr>
          <a:lstStyle/>
          <a:p>
            <a:pPr lvl="1"/>
            <a:r>
              <a:rPr lang="en-US" sz="2800" dirty="0" smtClean="0"/>
              <a:t>Promoting </a:t>
            </a:r>
            <a:r>
              <a:rPr lang="en-US" sz="2800" dirty="0">
                <a:solidFill>
                  <a:schemeClr val="tx1"/>
                </a:solidFill>
              </a:rPr>
              <a:t>Competition</a:t>
            </a:r>
            <a:r>
              <a:rPr lang="en-US" sz="2800" dirty="0"/>
              <a:t> and Deterring </a:t>
            </a:r>
            <a:r>
              <a:rPr lang="en-US" sz="2800" dirty="0">
                <a:solidFill>
                  <a:schemeClr val="tx1"/>
                </a:solidFill>
              </a:rPr>
              <a:t>Corruption</a:t>
            </a:r>
          </a:p>
          <a:p>
            <a:pPr lvl="1"/>
            <a:r>
              <a:rPr lang="en-US" sz="2800" dirty="0" smtClean="0"/>
              <a:t>Strategies </a:t>
            </a:r>
            <a:r>
              <a:rPr lang="en-US" sz="2800" dirty="0"/>
              <a:t>for </a:t>
            </a:r>
            <a:r>
              <a:rPr lang="en-US" sz="2800" dirty="0">
                <a:solidFill>
                  <a:schemeClr val="tx1"/>
                </a:solidFill>
              </a:rPr>
              <a:t>Sustainable</a:t>
            </a:r>
            <a:r>
              <a:rPr lang="en-US" sz="2800" dirty="0"/>
              <a:t> Public Procurement in Small Developing States</a:t>
            </a:r>
          </a:p>
          <a:p>
            <a:pPr lvl="1"/>
            <a:r>
              <a:rPr lang="en-US" sz="2800" dirty="0"/>
              <a:t>Public Procurement </a:t>
            </a:r>
            <a:r>
              <a:rPr lang="en-US" sz="2800" dirty="0" smtClean="0"/>
              <a:t>links to other Strategic </a:t>
            </a:r>
            <a:r>
              <a:rPr lang="en-US" sz="2800" dirty="0"/>
              <a:t>P</a:t>
            </a:r>
            <a:r>
              <a:rPr lang="en-US" sz="2800" dirty="0" smtClean="0"/>
              <a:t>ublic </a:t>
            </a:r>
            <a:r>
              <a:rPr lang="en-US" sz="2800" dirty="0"/>
              <a:t>S</a:t>
            </a:r>
            <a:r>
              <a:rPr lang="en-US" sz="2800" dirty="0" smtClean="0"/>
              <a:t>ector </a:t>
            </a:r>
            <a:r>
              <a:rPr lang="en-US" sz="2800" dirty="0"/>
              <a:t>F</a:t>
            </a:r>
            <a:r>
              <a:rPr lang="en-US" sz="2800" dirty="0" smtClean="0"/>
              <a:t>unctions</a:t>
            </a:r>
            <a:endParaRPr lang="en-US" sz="2800" dirty="0">
              <a:solidFill>
                <a:schemeClr val="tx1"/>
              </a:solidFill>
            </a:endParaRPr>
          </a:p>
          <a:p>
            <a:pPr lvl="1"/>
            <a:r>
              <a:rPr lang="en-US" sz="2800" dirty="0"/>
              <a:t>Towards a </a:t>
            </a:r>
            <a:r>
              <a:rPr lang="en-US" sz="2800" dirty="0">
                <a:solidFill>
                  <a:schemeClr val="tx1"/>
                </a:solidFill>
              </a:rPr>
              <a:t>Regional</a:t>
            </a:r>
            <a:r>
              <a:rPr lang="en-US" sz="2800" dirty="0"/>
              <a:t> Public Procurement Marketplace in the </a:t>
            </a:r>
            <a:r>
              <a:rPr lang="en-US" sz="2800" dirty="0" smtClean="0"/>
              <a:t>Caribbean</a:t>
            </a:r>
          </a:p>
          <a:p>
            <a:pPr lvl="1"/>
            <a:r>
              <a:rPr lang="en-US" sz="2800" dirty="0" smtClean="0"/>
              <a:t>Effects of Gender Inclusive Policies in Public Procurement</a:t>
            </a:r>
            <a:endParaRPr lang="en-US" sz="2800" dirty="0"/>
          </a:p>
          <a:p>
            <a:pPr lvl="1"/>
            <a:r>
              <a:rPr lang="en-US" sz="2800" dirty="0" smtClean="0"/>
              <a:t>Private Sector and Public Procurement</a:t>
            </a:r>
          </a:p>
          <a:p>
            <a:pPr lvl="1"/>
            <a:r>
              <a:rPr lang="en-US" sz="2800" dirty="0" smtClean="0"/>
              <a:t>T</a:t>
            </a:r>
            <a:r>
              <a:rPr lang="en-US" sz="2800" dirty="0" smtClean="0">
                <a:solidFill>
                  <a:schemeClr val="tx1"/>
                </a:solidFill>
              </a:rPr>
              <a:t>rade</a:t>
            </a:r>
            <a:r>
              <a:rPr lang="en-US" sz="2800" dirty="0" smtClean="0"/>
              <a:t> and Public Procurement</a:t>
            </a:r>
            <a:endParaRPr lang="en-US" sz="2800" dirty="0">
              <a:solidFill>
                <a:schemeClr val="tx1"/>
              </a:solidFill>
            </a:endParaRPr>
          </a:p>
          <a:p>
            <a:endParaRPr lang="en-US" sz="2800" dirty="0"/>
          </a:p>
        </p:txBody>
      </p:sp>
    </p:spTree>
    <p:extLst>
      <p:ext uri="{BB962C8B-B14F-4D97-AF65-F5344CB8AC3E}">
        <p14:creationId xmlns:p14="http://schemas.microsoft.com/office/powerpoint/2010/main" val="95942415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8096" y="585216"/>
            <a:ext cx="7690104" cy="1499616"/>
          </a:xfrm>
        </p:spPr>
        <p:txBody>
          <a:bodyPr/>
          <a:lstStyle/>
          <a:p>
            <a:r>
              <a:rPr lang="en-US" dirty="0" smtClean="0"/>
              <a:t>Challenges of the “new” procurement</a:t>
            </a:r>
            <a:endParaRPr lang="en-US" dirty="0"/>
          </a:p>
        </p:txBody>
      </p:sp>
      <p:sp>
        <p:nvSpPr>
          <p:cNvPr id="3" name="Content Placeholder 2"/>
          <p:cNvSpPr>
            <a:spLocks noGrp="1"/>
          </p:cNvSpPr>
          <p:nvPr>
            <p:ph idx="1"/>
          </p:nvPr>
        </p:nvSpPr>
        <p:spPr>
          <a:xfrm>
            <a:off x="768096" y="2057400"/>
            <a:ext cx="8071104" cy="4495800"/>
          </a:xfrm>
        </p:spPr>
        <p:txBody>
          <a:bodyPr>
            <a:noAutofit/>
          </a:bodyPr>
          <a:lstStyle/>
          <a:p>
            <a:r>
              <a:rPr lang="en-US" dirty="0" smtClean="0"/>
              <a:t>Greater </a:t>
            </a:r>
            <a:r>
              <a:rPr lang="en-US" dirty="0"/>
              <a:t>pressure for cost reduction due to </a:t>
            </a:r>
            <a:r>
              <a:rPr lang="en-US" dirty="0" smtClean="0"/>
              <a:t>limited economic resources</a:t>
            </a:r>
            <a:endParaRPr lang="en-US" dirty="0"/>
          </a:p>
          <a:p>
            <a:r>
              <a:rPr lang="en-US" dirty="0" smtClean="0"/>
              <a:t>A </a:t>
            </a:r>
            <a:r>
              <a:rPr lang="en-US" dirty="0"/>
              <a:t>greater demand for performance </a:t>
            </a:r>
            <a:r>
              <a:rPr lang="en-US" dirty="0" smtClean="0"/>
              <a:t>accountability from key stakeholders</a:t>
            </a:r>
            <a:endParaRPr lang="en-US" dirty="0"/>
          </a:p>
          <a:p>
            <a:r>
              <a:rPr lang="en-US" dirty="0" smtClean="0"/>
              <a:t>A </a:t>
            </a:r>
            <a:r>
              <a:rPr lang="en-US" dirty="0"/>
              <a:t>greater need to integrate and exploit supply base technologies and </a:t>
            </a:r>
            <a:r>
              <a:rPr lang="en-US" dirty="0" smtClean="0"/>
              <a:t>capabilities</a:t>
            </a:r>
          </a:p>
          <a:p>
            <a:r>
              <a:rPr lang="en-US" dirty="0" smtClean="0"/>
              <a:t>An </a:t>
            </a:r>
            <a:r>
              <a:rPr lang="en-US" dirty="0"/>
              <a:t>increased focus on outsourcing and strategic-value added </a:t>
            </a:r>
            <a:r>
              <a:rPr lang="en-US" dirty="0" smtClean="0"/>
              <a:t>relationships</a:t>
            </a:r>
            <a:endParaRPr lang="en-US" dirty="0"/>
          </a:p>
          <a:p>
            <a:r>
              <a:rPr lang="en-US" dirty="0" smtClean="0"/>
              <a:t>Increasing </a:t>
            </a:r>
            <a:r>
              <a:rPr lang="en-US" dirty="0"/>
              <a:t>focus on the </a:t>
            </a:r>
            <a:r>
              <a:rPr lang="en-US" dirty="0" smtClean="0"/>
              <a:t>integration of the supply </a:t>
            </a:r>
            <a:r>
              <a:rPr lang="en-US" dirty="0"/>
              <a:t>chain</a:t>
            </a:r>
          </a:p>
          <a:p>
            <a:r>
              <a:rPr lang="en-US" dirty="0" smtClean="0"/>
              <a:t>Increasing </a:t>
            </a:r>
            <a:r>
              <a:rPr lang="en-US" dirty="0"/>
              <a:t>need to capture total cost </a:t>
            </a:r>
            <a:r>
              <a:rPr lang="en-US" dirty="0" smtClean="0"/>
              <a:t>of ownership and </a:t>
            </a:r>
            <a:r>
              <a:rPr lang="en-US" dirty="0"/>
              <a:t>establish the business case</a:t>
            </a:r>
          </a:p>
          <a:p>
            <a:r>
              <a:rPr lang="en-US" dirty="0" smtClean="0"/>
              <a:t>Increasing </a:t>
            </a:r>
            <a:r>
              <a:rPr lang="en-US" dirty="0"/>
              <a:t>need for technology integration and e-procurement </a:t>
            </a:r>
            <a:r>
              <a:rPr lang="en-US" dirty="0" smtClean="0"/>
              <a:t>deployment</a:t>
            </a:r>
          </a:p>
          <a:p>
            <a:r>
              <a:rPr lang="en-US" b="1" dirty="0" smtClean="0"/>
              <a:t>By the way, many of these topics are being discussed at this Conference</a:t>
            </a:r>
          </a:p>
          <a:p>
            <a:endParaRPr lang="en-US" dirty="0"/>
          </a:p>
        </p:txBody>
      </p:sp>
    </p:spTree>
    <p:extLst>
      <p:ext uri="{BB962C8B-B14F-4D97-AF65-F5344CB8AC3E}">
        <p14:creationId xmlns:p14="http://schemas.microsoft.com/office/powerpoint/2010/main" val="18116467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se Changes impact how we do our business</a:t>
            </a:r>
            <a:endParaRPr lang="en-US" dirty="0"/>
          </a:p>
        </p:txBody>
      </p:sp>
      <p:sp>
        <p:nvSpPr>
          <p:cNvPr id="3" name="Content Placeholder 2"/>
          <p:cNvSpPr>
            <a:spLocks noGrp="1"/>
          </p:cNvSpPr>
          <p:nvPr>
            <p:ph idx="1"/>
          </p:nvPr>
        </p:nvSpPr>
        <p:spPr>
          <a:xfrm>
            <a:off x="768096" y="2084832"/>
            <a:ext cx="7290055" cy="4544568"/>
          </a:xfrm>
        </p:spPr>
        <p:txBody>
          <a:bodyPr>
            <a:normAutofit/>
          </a:bodyPr>
          <a:lstStyle/>
          <a:p>
            <a:r>
              <a:rPr lang="en-US" sz="2400" dirty="0" smtClean="0"/>
              <a:t>What we have learned is that how we conducted business in the past (silos) needs to change to include:</a:t>
            </a:r>
          </a:p>
          <a:p>
            <a:pPr lvl="1"/>
            <a:r>
              <a:rPr lang="en-US" sz="1900" dirty="0" smtClean="0"/>
              <a:t>Development of regional alliances in procurement – such as the IDB’s recent initiatives</a:t>
            </a:r>
          </a:p>
          <a:p>
            <a:pPr lvl="1"/>
            <a:r>
              <a:rPr lang="en-US" sz="1900" dirty="0"/>
              <a:t>Strategic </a:t>
            </a:r>
            <a:r>
              <a:rPr lang="en-US" sz="1900" dirty="0" smtClean="0"/>
              <a:t>relationship management </a:t>
            </a:r>
            <a:r>
              <a:rPr lang="en-US" sz="1900" dirty="0"/>
              <a:t>with </a:t>
            </a:r>
            <a:r>
              <a:rPr lang="en-US" sz="1900" dirty="0" smtClean="0"/>
              <a:t>suppliers</a:t>
            </a:r>
            <a:endParaRPr lang="en-US" sz="1900" dirty="0"/>
          </a:p>
          <a:p>
            <a:pPr lvl="1"/>
            <a:r>
              <a:rPr lang="en-US" sz="1900" dirty="0" smtClean="0"/>
              <a:t>Increasing use of cooperative purchasing/regional cooperation</a:t>
            </a:r>
          </a:p>
          <a:p>
            <a:pPr lvl="1"/>
            <a:r>
              <a:rPr lang="en-US" sz="1900" dirty="0" smtClean="0"/>
              <a:t>Integrating </a:t>
            </a:r>
            <a:r>
              <a:rPr lang="en-US" sz="1900" dirty="0" err="1" smtClean="0"/>
              <a:t>ePlatforms</a:t>
            </a:r>
            <a:r>
              <a:rPr lang="en-US" sz="1900" dirty="0" smtClean="0"/>
              <a:t> throughout the entire process – including the supply base</a:t>
            </a:r>
          </a:p>
          <a:p>
            <a:pPr lvl="1"/>
            <a:r>
              <a:rPr lang="en-US" sz="1900" dirty="0" smtClean="0"/>
              <a:t>Focus </a:t>
            </a:r>
            <a:r>
              <a:rPr lang="en-US" sz="1900" dirty="0"/>
              <a:t>on human capital </a:t>
            </a:r>
            <a:r>
              <a:rPr lang="en-US" sz="1900" dirty="0" smtClean="0"/>
              <a:t>management/Talent management</a:t>
            </a:r>
          </a:p>
          <a:p>
            <a:pPr lvl="1"/>
            <a:r>
              <a:rPr lang="en-US" sz="1900" dirty="0" smtClean="0"/>
              <a:t>Strategic cost reduction/value added</a:t>
            </a:r>
          </a:p>
          <a:p>
            <a:pPr lvl="1"/>
            <a:r>
              <a:rPr lang="en-US" sz="1900" dirty="0" smtClean="0"/>
              <a:t>Capturing and sharing procurement </a:t>
            </a:r>
            <a:r>
              <a:rPr lang="en-US" sz="1900" dirty="0"/>
              <a:t>p</a:t>
            </a:r>
            <a:r>
              <a:rPr lang="en-US" sz="1900" dirty="0" smtClean="0"/>
              <a:t>erformance</a:t>
            </a:r>
          </a:p>
          <a:p>
            <a:pPr lvl="1"/>
            <a:r>
              <a:rPr lang="en-US" sz="1900" dirty="0" smtClean="0"/>
              <a:t>Global sourcing</a:t>
            </a:r>
            <a:endParaRPr lang="en-US" sz="1900" dirty="0"/>
          </a:p>
          <a:p>
            <a:pPr lvl="1"/>
            <a:endParaRPr lang="en-US" sz="1800" dirty="0"/>
          </a:p>
          <a:p>
            <a:pPr lvl="1"/>
            <a:endParaRPr lang="en-US" sz="1800" dirty="0" smtClean="0"/>
          </a:p>
          <a:p>
            <a:endParaRPr lang="en-US" sz="2400" dirty="0"/>
          </a:p>
        </p:txBody>
      </p:sp>
    </p:spTree>
    <p:extLst>
      <p:ext uri="{BB962C8B-B14F-4D97-AF65-F5344CB8AC3E}">
        <p14:creationId xmlns:p14="http://schemas.microsoft.com/office/powerpoint/2010/main" val="27301074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A65B0DFA-1579-411C-8272-B40A05C5A42E}" type="slidenum">
              <a:rPr lang="en-AU" sz="1200" smtClean="0">
                <a:solidFill>
                  <a:schemeClr val="bg1"/>
                </a:solidFill>
              </a:rPr>
              <a:pPr>
                <a:spcBef>
                  <a:spcPct val="0"/>
                </a:spcBef>
                <a:buFontTx/>
                <a:buNone/>
              </a:pPr>
              <a:t>6</a:t>
            </a:fld>
            <a:endParaRPr lang="en-AU" sz="1200" smtClean="0">
              <a:solidFill>
                <a:schemeClr val="bg1"/>
              </a:solidFill>
            </a:endParaRPr>
          </a:p>
        </p:txBody>
      </p:sp>
      <p:graphicFrame>
        <p:nvGraphicFramePr>
          <p:cNvPr id="7" name="Diagram 6"/>
          <p:cNvGraphicFramePr/>
          <p:nvPr>
            <p:extLst>
              <p:ext uri="{D42A27DB-BD31-4B8C-83A1-F6EECF244321}">
                <p14:modId xmlns:p14="http://schemas.microsoft.com/office/powerpoint/2010/main" val="507772385"/>
              </p:ext>
            </p:extLst>
          </p:nvPr>
        </p:nvGraphicFramePr>
        <p:xfrm>
          <a:off x="166875" y="1252918"/>
          <a:ext cx="8964488" cy="48965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p:cNvSpPr txBox="1"/>
          <p:nvPr/>
        </p:nvSpPr>
        <p:spPr>
          <a:xfrm>
            <a:off x="3323150" y="4410264"/>
            <a:ext cx="1283787" cy="553998"/>
          </a:xfrm>
          <a:prstGeom prst="rect">
            <a:avLst/>
          </a:prstGeom>
          <a:noFill/>
        </p:spPr>
        <p:txBody>
          <a:bodyPr>
            <a:spAutoFit/>
            <a:scene3d>
              <a:camera prst="perspectiveHeroicExtremeLeftFacing"/>
              <a:lightRig rig="threePt" dir="t"/>
            </a:scene3d>
          </a:bodyPr>
          <a:lstStyle/>
          <a:p>
            <a:pPr algn="ctr" eaLnBrk="1" hangingPunct="1">
              <a:defRPr/>
            </a:pPr>
            <a:r>
              <a:rPr lang="en-AU" sz="1500" b="1" dirty="0">
                <a:solidFill>
                  <a:schemeClr val="accent3">
                    <a:lumMod val="50000"/>
                  </a:schemeClr>
                </a:solidFill>
                <a:latin typeface="+mn-lt"/>
              </a:rPr>
              <a:t>Process &amp; Governance</a:t>
            </a:r>
          </a:p>
        </p:txBody>
      </p:sp>
      <p:sp>
        <p:nvSpPr>
          <p:cNvPr id="11" name="TextBox 10"/>
          <p:cNvSpPr txBox="1"/>
          <p:nvPr/>
        </p:nvSpPr>
        <p:spPr>
          <a:xfrm>
            <a:off x="4524706" y="4638645"/>
            <a:ext cx="1630445" cy="553998"/>
          </a:xfrm>
          <a:prstGeom prst="rect">
            <a:avLst/>
          </a:prstGeom>
          <a:noFill/>
        </p:spPr>
        <p:txBody>
          <a:bodyPr>
            <a:spAutoFit/>
            <a:scene3d>
              <a:camera prst="perspectiveHeroicExtremeLeftFacing"/>
              <a:lightRig rig="threePt" dir="t"/>
            </a:scene3d>
          </a:bodyPr>
          <a:lstStyle/>
          <a:p>
            <a:pPr algn="ctr" eaLnBrk="1" hangingPunct="1">
              <a:defRPr/>
            </a:pPr>
            <a:r>
              <a:rPr lang="en-AU" sz="1500" b="1" dirty="0">
                <a:solidFill>
                  <a:schemeClr val="accent3">
                    <a:lumMod val="50000"/>
                  </a:schemeClr>
                </a:solidFill>
                <a:latin typeface="+mn-lt"/>
              </a:rPr>
              <a:t>Strategy &amp; Organization</a:t>
            </a:r>
          </a:p>
        </p:txBody>
      </p:sp>
      <p:sp>
        <p:nvSpPr>
          <p:cNvPr id="12" name="TextBox 11"/>
          <p:cNvSpPr txBox="1"/>
          <p:nvPr/>
        </p:nvSpPr>
        <p:spPr>
          <a:xfrm>
            <a:off x="5279723" y="5544781"/>
            <a:ext cx="1536336" cy="553998"/>
          </a:xfrm>
          <a:prstGeom prst="rect">
            <a:avLst/>
          </a:prstGeom>
          <a:noFill/>
        </p:spPr>
        <p:txBody>
          <a:bodyPr>
            <a:spAutoFit/>
            <a:scene3d>
              <a:camera prst="perspectiveHeroicExtremeLeftFacing"/>
              <a:lightRig rig="threePt" dir="t"/>
            </a:scene3d>
          </a:bodyPr>
          <a:lstStyle/>
          <a:p>
            <a:pPr algn="ctr" eaLnBrk="1" hangingPunct="1">
              <a:defRPr/>
            </a:pPr>
            <a:r>
              <a:rPr lang="en-AU" sz="1500" b="1" dirty="0">
                <a:solidFill>
                  <a:schemeClr val="accent3">
                    <a:lumMod val="50000"/>
                  </a:schemeClr>
                </a:solidFill>
                <a:latin typeface="+mn-lt"/>
              </a:rPr>
              <a:t>Leadership &amp; Influence</a:t>
            </a:r>
          </a:p>
        </p:txBody>
      </p:sp>
      <p:sp>
        <p:nvSpPr>
          <p:cNvPr id="13" name="TextBox 12"/>
          <p:cNvSpPr txBox="1"/>
          <p:nvPr/>
        </p:nvSpPr>
        <p:spPr>
          <a:xfrm>
            <a:off x="2771800" y="5157192"/>
            <a:ext cx="1081771" cy="323165"/>
          </a:xfrm>
          <a:prstGeom prst="rect">
            <a:avLst/>
          </a:prstGeom>
          <a:noFill/>
        </p:spPr>
        <p:txBody>
          <a:bodyPr wrap="none">
            <a:spAutoFit/>
            <a:scene3d>
              <a:camera prst="perspectiveHeroicExtremeLeftFacing"/>
              <a:lightRig rig="threePt" dir="t"/>
            </a:scene3d>
          </a:bodyPr>
          <a:lstStyle/>
          <a:p>
            <a:pPr eaLnBrk="1" hangingPunct="1">
              <a:defRPr/>
            </a:pPr>
            <a:r>
              <a:rPr lang="en-AU" sz="1500" b="1" dirty="0">
                <a:solidFill>
                  <a:schemeClr val="accent3">
                    <a:lumMod val="50000"/>
                  </a:schemeClr>
                </a:solidFill>
                <a:latin typeface="+mn-lt"/>
              </a:rPr>
              <a:t>Technology</a:t>
            </a:r>
          </a:p>
        </p:txBody>
      </p:sp>
      <p:sp>
        <p:nvSpPr>
          <p:cNvPr id="18" name="TextBox 17"/>
          <p:cNvSpPr txBox="1"/>
          <p:nvPr/>
        </p:nvSpPr>
        <p:spPr>
          <a:xfrm rot="3640163">
            <a:off x="5710641" y="5061467"/>
            <a:ext cx="1758110" cy="400110"/>
          </a:xfrm>
          <a:prstGeom prst="rect">
            <a:avLst/>
          </a:prstGeom>
          <a:noFill/>
        </p:spPr>
        <p:txBody>
          <a:bodyPr wrap="none">
            <a:spAutoFit/>
            <a:scene3d>
              <a:camera prst="perspectiveHeroicExtremeLeftFacing"/>
              <a:lightRig rig="threePt" dir="t"/>
            </a:scene3d>
          </a:bodyPr>
          <a:lstStyle/>
          <a:p>
            <a:pPr eaLnBrk="1" hangingPunct="1">
              <a:defRPr/>
            </a:pPr>
            <a:r>
              <a:rPr lang="en-AU" sz="2000" b="1" dirty="0">
                <a:solidFill>
                  <a:schemeClr val="accent3">
                    <a:lumMod val="75000"/>
                  </a:schemeClr>
                </a:solidFill>
                <a:latin typeface="+mn-lt"/>
              </a:rPr>
              <a:t>FOUNDATIONS</a:t>
            </a:r>
          </a:p>
        </p:txBody>
      </p:sp>
      <p:sp>
        <p:nvSpPr>
          <p:cNvPr id="22" name="TextBox 21"/>
          <p:cNvSpPr txBox="1"/>
          <p:nvPr/>
        </p:nvSpPr>
        <p:spPr>
          <a:xfrm>
            <a:off x="4102881" y="5291686"/>
            <a:ext cx="1092477" cy="553998"/>
          </a:xfrm>
          <a:prstGeom prst="rect">
            <a:avLst/>
          </a:prstGeom>
          <a:noFill/>
        </p:spPr>
        <p:txBody>
          <a:bodyPr>
            <a:spAutoFit/>
            <a:scene3d>
              <a:camera prst="perspectiveHeroicExtremeLeftFacing"/>
              <a:lightRig rig="threePt" dir="t"/>
            </a:scene3d>
          </a:bodyPr>
          <a:lstStyle/>
          <a:p>
            <a:pPr algn="ctr" eaLnBrk="1" hangingPunct="1">
              <a:defRPr/>
            </a:pPr>
            <a:r>
              <a:rPr lang="en-AU" sz="1500" b="1" dirty="0">
                <a:solidFill>
                  <a:schemeClr val="accent3">
                    <a:lumMod val="50000"/>
                  </a:schemeClr>
                </a:solidFill>
                <a:latin typeface="+mn-lt"/>
              </a:rPr>
              <a:t>People &amp; </a:t>
            </a:r>
            <a:r>
              <a:rPr lang="en-AU" sz="1500" b="1" dirty="0" smtClean="0">
                <a:solidFill>
                  <a:schemeClr val="accent3">
                    <a:lumMod val="50000"/>
                  </a:schemeClr>
                </a:solidFill>
                <a:latin typeface="+mn-lt"/>
              </a:rPr>
              <a:t>KSA’s</a:t>
            </a:r>
            <a:endParaRPr lang="en-AU" sz="1500" b="1" dirty="0">
              <a:solidFill>
                <a:schemeClr val="accent3">
                  <a:lumMod val="50000"/>
                </a:schemeClr>
              </a:solidFill>
              <a:latin typeface="+mn-lt"/>
            </a:endParaRPr>
          </a:p>
        </p:txBody>
      </p:sp>
      <p:grpSp>
        <p:nvGrpSpPr>
          <p:cNvPr id="2" name="Diagram group"/>
          <p:cNvGrpSpPr/>
          <p:nvPr/>
        </p:nvGrpSpPr>
        <p:grpSpPr>
          <a:xfrm>
            <a:off x="3037252" y="2893261"/>
            <a:ext cx="3231719" cy="1615859"/>
            <a:chOff x="2866384" y="1640342"/>
            <a:chExt cx="3231719" cy="1615859"/>
          </a:xfrm>
          <a:scene3d>
            <a:camera prst="isometricOffAxis2Left" zoom="95000"/>
            <a:lightRig rig="flat" dir="t"/>
          </a:scene3d>
        </p:grpSpPr>
        <p:grpSp>
          <p:nvGrpSpPr>
            <p:cNvPr id="3" name="Group 28"/>
            <p:cNvGrpSpPr/>
            <p:nvPr/>
          </p:nvGrpSpPr>
          <p:grpSpPr>
            <a:xfrm>
              <a:off x="2866384" y="1640342"/>
              <a:ext cx="1615859" cy="1615859"/>
              <a:chOff x="2866384" y="1640342"/>
              <a:chExt cx="1615859" cy="1615859"/>
            </a:xfrm>
          </p:grpSpPr>
          <p:sp>
            <p:nvSpPr>
              <p:cNvPr id="36" name="Isosceles Triangle 35"/>
              <p:cNvSpPr/>
              <p:nvPr/>
            </p:nvSpPr>
            <p:spPr>
              <a:xfrm>
                <a:off x="2866384" y="1640342"/>
                <a:ext cx="1615859" cy="1615859"/>
              </a:xfrm>
              <a:prstGeom prst="triangle">
                <a:avLst/>
              </a:prstGeom>
              <a:sp3d extrusionH="1047750" contourW="38100" prstMaterial="matte">
                <a:contourClr>
                  <a:schemeClr val="lt1"/>
                </a:contourClr>
              </a:sp3d>
            </p:spPr>
            <p:style>
              <a:lnRef idx="0">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7" name="Isosceles Triangle 4"/>
              <p:cNvSpPr/>
              <p:nvPr/>
            </p:nvSpPr>
            <p:spPr>
              <a:xfrm>
                <a:off x="3270349" y="2448272"/>
                <a:ext cx="807929" cy="807929"/>
              </a:xfrm>
              <a:prstGeom prst="rect">
                <a:avLst/>
              </a:prstGeom>
              <a:sp3d/>
            </p:spPr>
            <p:style>
              <a:lnRef idx="0">
                <a:scrgbClr r="0" g="0" b="0"/>
              </a:lnRef>
              <a:fillRef idx="0">
                <a:scrgbClr r="0" g="0" b="0"/>
              </a:fillRef>
              <a:effectRef idx="0">
                <a:scrgbClr r="0" g="0" b="0"/>
              </a:effectRef>
              <a:fontRef idx="minor">
                <a:schemeClr val="lt1"/>
              </a:fontRef>
            </p:style>
            <p:txBody>
              <a:bodyPr lIns="53340" tIns="53340" rIns="53340" bIns="53340" spcCol="1270" anchor="ctr"/>
              <a:lstStyle/>
              <a:p>
                <a:pPr algn="ctr" defTabSz="622300" eaLnBrk="1" hangingPunct="1">
                  <a:lnSpc>
                    <a:spcPct val="90000"/>
                  </a:lnSpc>
                  <a:spcAft>
                    <a:spcPct val="35000"/>
                  </a:spcAft>
                  <a:defRPr/>
                </a:pPr>
                <a:endParaRPr lang="en-AU" sz="1400" b="1" dirty="0">
                  <a:solidFill>
                    <a:schemeClr val="bg1"/>
                  </a:solidFill>
                </a:endParaRPr>
              </a:p>
            </p:txBody>
          </p:sp>
        </p:grpSp>
        <p:grpSp>
          <p:nvGrpSpPr>
            <p:cNvPr id="6" name="Group 29"/>
            <p:cNvGrpSpPr/>
            <p:nvPr/>
          </p:nvGrpSpPr>
          <p:grpSpPr>
            <a:xfrm>
              <a:off x="3674314" y="1640342"/>
              <a:ext cx="1615859" cy="1615859"/>
              <a:chOff x="3674314" y="1640342"/>
              <a:chExt cx="1615859" cy="1615859"/>
            </a:xfrm>
          </p:grpSpPr>
          <p:sp>
            <p:nvSpPr>
              <p:cNvPr id="34" name="Isosceles Triangle 33"/>
              <p:cNvSpPr/>
              <p:nvPr/>
            </p:nvSpPr>
            <p:spPr>
              <a:xfrm rot="10800000">
                <a:off x="3674314" y="1640342"/>
                <a:ext cx="1615859" cy="1615859"/>
              </a:xfrm>
              <a:prstGeom prst="triangle">
                <a:avLst/>
              </a:prstGeom>
              <a:sp3d extrusionH="1047750" contourW="38100" prstMaterial="matte">
                <a:contourClr>
                  <a:schemeClr val="lt1"/>
                </a:contourClr>
              </a:sp3d>
            </p:spPr>
            <p:style>
              <a:lnRef idx="0">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5" name="Isosceles Triangle 6"/>
              <p:cNvSpPr/>
              <p:nvPr/>
            </p:nvSpPr>
            <p:spPr>
              <a:xfrm rot="21600000">
                <a:off x="4078279" y="1640342"/>
                <a:ext cx="807929" cy="807929"/>
              </a:xfrm>
              <a:prstGeom prst="rect">
                <a:avLst/>
              </a:prstGeom>
              <a:sp3d/>
            </p:spPr>
            <p:style>
              <a:lnRef idx="0">
                <a:scrgbClr r="0" g="0" b="0"/>
              </a:lnRef>
              <a:fillRef idx="0">
                <a:scrgbClr r="0" g="0" b="0"/>
              </a:fillRef>
              <a:effectRef idx="0">
                <a:scrgbClr r="0" g="0" b="0"/>
              </a:effectRef>
              <a:fontRef idx="minor">
                <a:schemeClr val="lt1"/>
              </a:fontRef>
            </p:style>
            <p:txBody>
              <a:bodyPr lIns="41910" tIns="41910" rIns="41910" bIns="41910" spcCol="1270" anchor="ctr"/>
              <a:lstStyle/>
              <a:p>
                <a:pPr algn="ctr" defTabSz="488950" eaLnBrk="1" hangingPunct="1">
                  <a:lnSpc>
                    <a:spcPct val="90000"/>
                  </a:lnSpc>
                  <a:spcAft>
                    <a:spcPct val="35000"/>
                  </a:spcAft>
                  <a:defRPr/>
                </a:pPr>
                <a:endParaRPr lang="en-AU" sz="1100" dirty="0"/>
              </a:p>
            </p:txBody>
          </p:sp>
        </p:grpSp>
        <p:grpSp>
          <p:nvGrpSpPr>
            <p:cNvPr id="8" name="Group 30"/>
            <p:cNvGrpSpPr/>
            <p:nvPr/>
          </p:nvGrpSpPr>
          <p:grpSpPr>
            <a:xfrm>
              <a:off x="4482244" y="1640342"/>
              <a:ext cx="1615859" cy="1615859"/>
              <a:chOff x="4482244" y="1640342"/>
              <a:chExt cx="1615859" cy="1615859"/>
            </a:xfrm>
          </p:grpSpPr>
          <p:sp>
            <p:nvSpPr>
              <p:cNvPr id="32" name="Isosceles Triangle 31"/>
              <p:cNvSpPr/>
              <p:nvPr/>
            </p:nvSpPr>
            <p:spPr>
              <a:xfrm>
                <a:off x="4482244" y="1640342"/>
                <a:ext cx="1615859" cy="1615859"/>
              </a:xfrm>
              <a:prstGeom prst="triangle">
                <a:avLst/>
              </a:prstGeom>
              <a:sp3d extrusionH="1047750" contourW="38100" prstMaterial="matte">
                <a:contourClr>
                  <a:schemeClr val="lt1"/>
                </a:contourClr>
              </a:sp3d>
            </p:spPr>
            <p:style>
              <a:lnRef idx="0">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3" name="Isosceles Triangle 8"/>
              <p:cNvSpPr/>
              <p:nvPr/>
            </p:nvSpPr>
            <p:spPr>
              <a:xfrm>
                <a:off x="4886209" y="2448272"/>
                <a:ext cx="807929" cy="807929"/>
              </a:xfrm>
              <a:prstGeom prst="rect">
                <a:avLst/>
              </a:prstGeom>
              <a:sp3d/>
            </p:spPr>
            <p:style>
              <a:lnRef idx="0">
                <a:scrgbClr r="0" g="0" b="0"/>
              </a:lnRef>
              <a:fillRef idx="0">
                <a:scrgbClr r="0" g="0" b="0"/>
              </a:fillRef>
              <a:effectRef idx="0">
                <a:scrgbClr r="0" g="0" b="0"/>
              </a:effectRef>
              <a:fontRef idx="minor">
                <a:schemeClr val="lt1"/>
              </a:fontRef>
            </p:style>
            <p:txBody>
              <a:bodyPr lIns="41910" tIns="41910" rIns="41910" bIns="41910" spcCol="1270" anchor="ctr"/>
              <a:lstStyle/>
              <a:p>
                <a:pPr algn="ctr" defTabSz="488950" eaLnBrk="1" hangingPunct="1">
                  <a:lnSpc>
                    <a:spcPct val="90000"/>
                  </a:lnSpc>
                  <a:spcAft>
                    <a:spcPct val="35000"/>
                  </a:spcAft>
                  <a:defRPr/>
                </a:pPr>
                <a:endParaRPr lang="en-AU" sz="1100" dirty="0"/>
              </a:p>
            </p:txBody>
          </p:sp>
        </p:grpSp>
      </p:grpSp>
      <p:sp>
        <p:nvSpPr>
          <p:cNvPr id="38" name="TextBox 37"/>
          <p:cNvSpPr txBox="1"/>
          <p:nvPr/>
        </p:nvSpPr>
        <p:spPr>
          <a:xfrm>
            <a:off x="3439896" y="3640381"/>
            <a:ext cx="1325969" cy="553998"/>
          </a:xfrm>
          <a:prstGeom prst="rect">
            <a:avLst/>
          </a:prstGeom>
          <a:noFill/>
        </p:spPr>
        <p:txBody>
          <a:bodyPr>
            <a:spAutoFit/>
            <a:scene3d>
              <a:camera prst="perspectiveHeroicExtremeLeftFacing"/>
              <a:lightRig rig="threePt" dir="t"/>
            </a:scene3d>
          </a:bodyPr>
          <a:lstStyle/>
          <a:p>
            <a:pPr eaLnBrk="1" hangingPunct="1">
              <a:defRPr/>
            </a:pPr>
            <a:r>
              <a:rPr lang="en-AU" sz="1500" b="1" dirty="0">
                <a:solidFill>
                  <a:schemeClr val="bg1"/>
                </a:solidFill>
                <a:latin typeface="+mn-lt"/>
              </a:rPr>
              <a:t>Triple </a:t>
            </a:r>
          </a:p>
          <a:p>
            <a:pPr eaLnBrk="1" hangingPunct="1">
              <a:defRPr/>
            </a:pPr>
            <a:r>
              <a:rPr lang="en-AU" sz="1500" b="1" dirty="0">
                <a:solidFill>
                  <a:schemeClr val="bg1"/>
                </a:solidFill>
                <a:latin typeface="+mn-lt"/>
              </a:rPr>
              <a:t>Bottom Line</a:t>
            </a:r>
          </a:p>
        </p:txBody>
      </p:sp>
      <p:sp>
        <p:nvSpPr>
          <p:cNvPr id="39" name="TextBox 38"/>
          <p:cNvSpPr txBox="1"/>
          <p:nvPr/>
        </p:nvSpPr>
        <p:spPr>
          <a:xfrm>
            <a:off x="4716016" y="3850825"/>
            <a:ext cx="1240404" cy="553998"/>
          </a:xfrm>
          <a:prstGeom prst="rect">
            <a:avLst/>
          </a:prstGeom>
          <a:noFill/>
        </p:spPr>
        <p:txBody>
          <a:bodyPr wrap="none">
            <a:spAutoFit/>
            <a:scene3d>
              <a:camera prst="perspectiveHeroicExtremeLeftFacing"/>
              <a:lightRig rig="threePt" dir="t"/>
            </a:scene3d>
          </a:bodyPr>
          <a:lstStyle/>
          <a:p>
            <a:pPr algn="ctr" eaLnBrk="1" hangingPunct="1">
              <a:defRPr/>
            </a:pPr>
            <a:r>
              <a:rPr lang="en-AU" sz="1500" b="1" dirty="0">
                <a:solidFill>
                  <a:schemeClr val="bg1"/>
                </a:solidFill>
                <a:latin typeface="+mn-lt"/>
              </a:rPr>
              <a:t>Supplier</a:t>
            </a:r>
          </a:p>
          <a:p>
            <a:pPr algn="ctr" eaLnBrk="1" hangingPunct="1">
              <a:defRPr/>
            </a:pPr>
            <a:r>
              <a:rPr lang="en-AU" sz="1500" b="1" dirty="0">
                <a:solidFill>
                  <a:schemeClr val="bg1"/>
                </a:solidFill>
                <a:latin typeface="+mn-lt"/>
              </a:rPr>
              <a:t>management</a:t>
            </a:r>
          </a:p>
        </p:txBody>
      </p:sp>
      <p:sp>
        <p:nvSpPr>
          <p:cNvPr id="40" name="TextBox 39"/>
          <p:cNvSpPr txBox="1"/>
          <p:nvPr/>
        </p:nvSpPr>
        <p:spPr>
          <a:xfrm>
            <a:off x="3839563" y="2994818"/>
            <a:ext cx="1680898" cy="553998"/>
          </a:xfrm>
          <a:prstGeom prst="rect">
            <a:avLst/>
          </a:prstGeom>
          <a:noFill/>
        </p:spPr>
        <p:txBody>
          <a:bodyPr>
            <a:spAutoFit/>
            <a:scene3d>
              <a:camera prst="perspectiveHeroicExtremeLeftFacing"/>
              <a:lightRig rig="threePt" dir="t"/>
            </a:scene3d>
          </a:bodyPr>
          <a:lstStyle/>
          <a:p>
            <a:pPr algn="ctr" eaLnBrk="1" hangingPunct="1">
              <a:defRPr/>
            </a:pPr>
            <a:r>
              <a:rPr lang="en-AU" sz="1500" b="1" dirty="0">
                <a:solidFill>
                  <a:schemeClr val="bg1"/>
                </a:solidFill>
                <a:latin typeface="+mn-lt"/>
              </a:rPr>
              <a:t>Sourcing &amp; Collaboration</a:t>
            </a:r>
          </a:p>
        </p:txBody>
      </p:sp>
      <p:sp>
        <p:nvSpPr>
          <p:cNvPr id="41" name="TextBox 40"/>
          <p:cNvSpPr txBox="1"/>
          <p:nvPr/>
        </p:nvSpPr>
        <p:spPr>
          <a:xfrm rot="3603320">
            <a:off x="5286380" y="3510094"/>
            <a:ext cx="1250983" cy="400110"/>
          </a:xfrm>
          <a:prstGeom prst="rect">
            <a:avLst/>
          </a:prstGeom>
          <a:noFill/>
        </p:spPr>
        <p:txBody>
          <a:bodyPr wrap="none">
            <a:spAutoFit/>
            <a:scene3d>
              <a:camera prst="perspectiveHeroicExtremeLeftFacing"/>
              <a:lightRig rig="threePt" dir="t"/>
            </a:scene3d>
          </a:bodyPr>
          <a:lstStyle/>
          <a:p>
            <a:pPr eaLnBrk="1" hangingPunct="1">
              <a:defRPr/>
            </a:pPr>
            <a:r>
              <a:rPr lang="en-AU" sz="2000" b="1" dirty="0">
                <a:solidFill>
                  <a:schemeClr val="accent1">
                    <a:lumMod val="40000"/>
                    <a:lumOff val="60000"/>
                  </a:schemeClr>
                </a:solidFill>
                <a:latin typeface="+mn-lt"/>
              </a:rPr>
              <a:t>STRATEGY</a:t>
            </a:r>
          </a:p>
        </p:txBody>
      </p:sp>
      <p:grpSp>
        <p:nvGrpSpPr>
          <p:cNvPr id="9" name="Diagram group"/>
          <p:cNvGrpSpPr/>
          <p:nvPr/>
        </p:nvGrpSpPr>
        <p:grpSpPr>
          <a:xfrm>
            <a:off x="3844951" y="1412776"/>
            <a:ext cx="1615859" cy="1615859"/>
            <a:chOff x="3674314" y="24482"/>
            <a:chExt cx="1615859" cy="1615859"/>
          </a:xfrm>
          <a:scene3d>
            <a:camera prst="isometricOffAxis2Left" zoom="95000"/>
            <a:lightRig rig="flat" dir="t"/>
          </a:scene3d>
        </p:grpSpPr>
        <p:grpSp>
          <p:nvGrpSpPr>
            <p:cNvPr id="14" name="Group 42"/>
            <p:cNvGrpSpPr/>
            <p:nvPr/>
          </p:nvGrpSpPr>
          <p:grpSpPr>
            <a:xfrm>
              <a:off x="3674314" y="24482"/>
              <a:ext cx="1615859" cy="1615859"/>
              <a:chOff x="3674314" y="24482"/>
              <a:chExt cx="1615859" cy="1615859"/>
            </a:xfrm>
          </p:grpSpPr>
          <p:sp>
            <p:nvSpPr>
              <p:cNvPr id="44" name="Isosceles Triangle 43"/>
              <p:cNvSpPr/>
              <p:nvPr/>
            </p:nvSpPr>
            <p:spPr>
              <a:xfrm>
                <a:off x="3674314" y="24482"/>
                <a:ext cx="1615859" cy="1615859"/>
              </a:xfrm>
              <a:prstGeom prst="triangle">
                <a:avLst/>
              </a:prstGeom>
              <a:solidFill>
                <a:schemeClr val="accent2">
                  <a:lumMod val="75000"/>
                </a:schemeClr>
              </a:solidFill>
              <a:sp3d extrusionH="1047750" contourW="38100" prstMaterial="matte">
                <a:contourClr>
                  <a:schemeClr val="lt1"/>
                </a:contourClr>
              </a:sp3d>
            </p:spPr>
            <p:style>
              <a:lnRef idx="0">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5" name="Isosceles Triangle 4"/>
              <p:cNvSpPr/>
              <p:nvPr/>
            </p:nvSpPr>
            <p:spPr>
              <a:xfrm>
                <a:off x="4078279" y="832412"/>
                <a:ext cx="807929" cy="807929"/>
              </a:xfrm>
              <a:prstGeom prst="rect">
                <a:avLst/>
              </a:prstGeom>
              <a:sp3d/>
            </p:spPr>
            <p:style>
              <a:lnRef idx="0">
                <a:scrgbClr r="0" g="0" b="0"/>
              </a:lnRef>
              <a:fillRef idx="0">
                <a:scrgbClr r="0" g="0" b="0"/>
              </a:fillRef>
              <a:effectRef idx="0">
                <a:scrgbClr r="0" g="0" b="0"/>
              </a:effectRef>
              <a:fontRef idx="minor">
                <a:schemeClr val="lt1"/>
              </a:fontRef>
            </p:style>
            <p:txBody>
              <a:bodyPr lIns="53340" tIns="53340" rIns="53340" bIns="53340" spcCol="1270" anchor="ctr"/>
              <a:lstStyle/>
              <a:p>
                <a:pPr algn="ctr" defTabSz="622300" eaLnBrk="1" hangingPunct="1">
                  <a:lnSpc>
                    <a:spcPct val="90000"/>
                  </a:lnSpc>
                  <a:spcAft>
                    <a:spcPct val="35000"/>
                  </a:spcAft>
                  <a:defRPr/>
                </a:pPr>
                <a:endParaRPr lang="en-AU" sz="1400" b="1" dirty="0"/>
              </a:p>
            </p:txBody>
          </p:sp>
        </p:grpSp>
      </p:grpSp>
      <p:sp>
        <p:nvSpPr>
          <p:cNvPr id="46" name="TextBox 45"/>
          <p:cNvSpPr txBox="1"/>
          <p:nvPr/>
        </p:nvSpPr>
        <p:spPr>
          <a:xfrm rot="3622420">
            <a:off x="4595451" y="1972020"/>
            <a:ext cx="1326004" cy="369332"/>
          </a:xfrm>
          <a:prstGeom prst="rect">
            <a:avLst/>
          </a:prstGeom>
          <a:noFill/>
        </p:spPr>
        <p:txBody>
          <a:bodyPr wrap="none">
            <a:spAutoFit/>
            <a:scene3d>
              <a:camera prst="perspectiveHeroicExtremeLeftFacing"/>
              <a:lightRig rig="threePt" dir="t"/>
            </a:scene3d>
          </a:bodyPr>
          <a:lstStyle/>
          <a:p>
            <a:pPr eaLnBrk="1" hangingPunct="1">
              <a:defRPr/>
            </a:pPr>
            <a:r>
              <a:rPr lang="en-AU" b="1" dirty="0">
                <a:solidFill>
                  <a:srgbClr val="C0504D">
                    <a:lumMod val="40000"/>
                    <a:lumOff val="60000"/>
                  </a:srgbClr>
                </a:solidFill>
              </a:rPr>
              <a:t>BENEFITS</a:t>
            </a:r>
          </a:p>
        </p:txBody>
      </p:sp>
      <p:sp>
        <p:nvSpPr>
          <p:cNvPr id="47" name="TextBox 46"/>
          <p:cNvSpPr txBox="1"/>
          <p:nvPr/>
        </p:nvSpPr>
        <p:spPr>
          <a:xfrm>
            <a:off x="3827206" y="2296180"/>
            <a:ext cx="1680898" cy="523220"/>
          </a:xfrm>
          <a:prstGeom prst="rect">
            <a:avLst/>
          </a:prstGeom>
          <a:noFill/>
        </p:spPr>
        <p:txBody>
          <a:bodyPr>
            <a:spAutoFit/>
            <a:scene3d>
              <a:camera prst="perspectiveHeroicExtremeLeftFacing"/>
              <a:lightRig rig="threePt" dir="t"/>
            </a:scene3d>
          </a:bodyPr>
          <a:lstStyle/>
          <a:p>
            <a:pPr algn="ctr" eaLnBrk="1" hangingPunct="1">
              <a:defRPr/>
            </a:pPr>
            <a:r>
              <a:rPr lang="en-AU" sz="1400" b="1" dirty="0" smtClean="0">
                <a:solidFill>
                  <a:srgbClr val="FFFF00"/>
                </a:solidFill>
              </a:rPr>
              <a:t>Procurement Excellence</a:t>
            </a:r>
            <a:endParaRPr lang="en-AU" sz="1400" b="1" dirty="0">
              <a:solidFill>
                <a:srgbClr val="FFFF00"/>
              </a:solidFill>
            </a:endParaRPr>
          </a:p>
        </p:txBody>
      </p:sp>
      <p:sp>
        <p:nvSpPr>
          <p:cNvPr id="43" name="Title 1"/>
          <p:cNvSpPr>
            <a:spLocks noGrp="1"/>
          </p:cNvSpPr>
          <p:nvPr>
            <p:ph type="title"/>
          </p:nvPr>
        </p:nvSpPr>
        <p:spPr>
          <a:xfrm>
            <a:off x="533400" y="685800"/>
            <a:ext cx="8837612" cy="654050"/>
          </a:xfrm>
        </p:spPr>
        <p:txBody>
          <a:bodyPr>
            <a:normAutofit fontScale="90000"/>
          </a:bodyPr>
          <a:lstStyle/>
          <a:p>
            <a:pPr eaLnBrk="1" fontAlgn="auto" hangingPunct="1">
              <a:spcBef>
                <a:spcPts val="0"/>
              </a:spcBef>
              <a:spcAft>
                <a:spcPts val="0"/>
              </a:spcAft>
              <a:defRPr/>
            </a:pPr>
            <a:r>
              <a:rPr lang="en-AU" sz="2800" dirty="0" smtClean="0">
                <a:solidFill>
                  <a:schemeClr val="tx1"/>
                </a:solidFill>
                <a:latin typeface="Calibri" pitchFamily="34" charset="0"/>
                <a:ea typeface="+mn-ea"/>
                <a:cs typeface="+mn-cs"/>
              </a:rPr>
              <a:t>So how does Procurement achieve all these goals? </a:t>
            </a:r>
            <a:endParaRPr lang="en-AU" sz="2800" dirty="0">
              <a:solidFill>
                <a:schemeClr val="tx1"/>
              </a:solidFill>
              <a:latin typeface="Calibri" pitchFamily="34" charset="0"/>
              <a:ea typeface="+mn-ea"/>
              <a:cs typeface="+mn-cs"/>
            </a:endParaRPr>
          </a:p>
        </p:txBody>
      </p:sp>
      <p:sp>
        <p:nvSpPr>
          <p:cNvPr id="48" name="TextBox 47"/>
          <p:cNvSpPr txBox="1"/>
          <p:nvPr/>
        </p:nvSpPr>
        <p:spPr>
          <a:xfrm rot="17244971">
            <a:off x="461279" y="3094449"/>
            <a:ext cx="5323958" cy="523220"/>
          </a:xfrm>
          <a:prstGeom prst="rect">
            <a:avLst/>
          </a:prstGeom>
          <a:noFill/>
        </p:spPr>
        <p:txBody>
          <a:bodyPr wrap="none">
            <a:spAutoFit/>
            <a:scene3d>
              <a:camera prst="isometricOffAxis2Left"/>
              <a:lightRig rig="threePt" dir="t"/>
            </a:scene3d>
          </a:bodyPr>
          <a:lstStyle/>
          <a:p>
            <a:pPr eaLnBrk="1" hangingPunct="1">
              <a:defRPr/>
            </a:pPr>
            <a:r>
              <a:rPr lang="en-AU" sz="2800" dirty="0" smtClean="0">
                <a:latin typeface="+mn-lt"/>
              </a:rPr>
              <a:t>By Building </a:t>
            </a:r>
            <a:r>
              <a:rPr lang="en-AU" sz="2800" dirty="0">
                <a:latin typeface="+mn-lt"/>
              </a:rPr>
              <a:t>Procurement Excellence</a:t>
            </a:r>
          </a:p>
        </p:txBody>
      </p:sp>
    </p:spTree>
    <p:extLst>
      <p:ext uri="{BB962C8B-B14F-4D97-AF65-F5344CB8AC3E}">
        <p14:creationId xmlns:p14="http://schemas.microsoft.com/office/powerpoint/2010/main" val="344634198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8096" y="585216"/>
            <a:ext cx="8071104" cy="1499616"/>
          </a:xfrm>
        </p:spPr>
        <p:txBody>
          <a:bodyPr>
            <a:normAutofit/>
          </a:bodyPr>
          <a:lstStyle/>
          <a:p>
            <a:r>
              <a:rPr lang="en-US" dirty="0" smtClean="0"/>
              <a:t>The Critical Link in achieving Public Procurement excellence</a:t>
            </a:r>
            <a:endParaRPr lang="en-US" dirty="0"/>
          </a:p>
        </p:txBody>
      </p:sp>
      <p:sp>
        <p:nvSpPr>
          <p:cNvPr id="3" name="Content Placeholder 2"/>
          <p:cNvSpPr>
            <a:spLocks noGrp="1"/>
          </p:cNvSpPr>
          <p:nvPr>
            <p:ph idx="1"/>
          </p:nvPr>
        </p:nvSpPr>
        <p:spPr>
          <a:xfrm>
            <a:off x="768096" y="2057400"/>
            <a:ext cx="7290055" cy="4023360"/>
          </a:xfrm>
        </p:spPr>
        <p:txBody>
          <a:bodyPr/>
          <a:lstStyle/>
          <a:p>
            <a:r>
              <a:rPr lang="en-US" sz="2800" dirty="0" smtClean="0"/>
              <a:t>So what makes the system work (or not work)?</a:t>
            </a:r>
          </a:p>
          <a:p>
            <a:endParaRPr lang="en-US" sz="2800" dirty="0"/>
          </a:p>
          <a:p>
            <a:endParaRPr lang="en-US" sz="2800" dirty="0" smtClean="0"/>
          </a:p>
          <a:p>
            <a:endParaRPr lang="en-US" sz="2800" dirty="0"/>
          </a:p>
          <a:p>
            <a:endParaRPr lang="en-US" sz="2800" dirty="0" smtClean="0"/>
          </a:p>
          <a:p>
            <a:endParaRPr lang="en-US" sz="2800" dirty="0"/>
          </a:p>
          <a:p>
            <a:r>
              <a:rPr lang="en-US" sz="2800" dirty="0" smtClean="0"/>
              <a:t>What brings the two processes together?</a:t>
            </a:r>
          </a:p>
        </p:txBody>
      </p:sp>
      <p:pic>
        <p:nvPicPr>
          <p:cNvPr id="11" name="Picture 10"/>
          <p:cNvPicPr>
            <a:picLocks noChangeAspect="1"/>
          </p:cNvPicPr>
          <p:nvPr/>
        </p:nvPicPr>
        <p:blipFill>
          <a:blip r:embed="rId3"/>
          <a:stretch>
            <a:fillRect/>
          </a:stretch>
        </p:blipFill>
        <p:spPr>
          <a:xfrm>
            <a:off x="5591176" y="3276600"/>
            <a:ext cx="2466975" cy="1847850"/>
          </a:xfrm>
          <a:prstGeom prst="rect">
            <a:avLst/>
          </a:prstGeom>
        </p:spPr>
      </p:pic>
      <p:pic>
        <p:nvPicPr>
          <p:cNvPr id="14" name="Picture 13"/>
          <p:cNvPicPr>
            <a:picLocks noChangeAspect="1"/>
          </p:cNvPicPr>
          <p:nvPr/>
        </p:nvPicPr>
        <p:blipFill>
          <a:blip r:embed="rId4"/>
          <a:stretch>
            <a:fillRect/>
          </a:stretch>
        </p:blipFill>
        <p:spPr>
          <a:xfrm>
            <a:off x="990600" y="3429000"/>
            <a:ext cx="2819400" cy="1619250"/>
          </a:xfrm>
          <a:prstGeom prst="rect">
            <a:avLst/>
          </a:prstGeom>
        </p:spPr>
      </p:pic>
      <p:sp>
        <p:nvSpPr>
          <p:cNvPr id="15" name="TextBox 14"/>
          <p:cNvSpPr txBox="1"/>
          <p:nvPr/>
        </p:nvSpPr>
        <p:spPr>
          <a:xfrm>
            <a:off x="1461795" y="2743200"/>
            <a:ext cx="2091342" cy="646331"/>
          </a:xfrm>
          <a:prstGeom prst="rect">
            <a:avLst/>
          </a:prstGeom>
          <a:noFill/>
        </p:spPr>
        <p:txBody>
          <a:bodyPr wrap="none" rtlCol="0">
            <a:spAutoFit/>
          </a:bodyPr>
          <a:lstStyle/>
          <a:p>
            <a:r>
              <a:rPr lang="en-US" dirty="0" smtClean="0"/>
              <a:t>A Well Established</a:t>
            </a:r>
          </a:p>
          <a:p>
            <a:r>
              <a:rPr lang="en-US" dirty="0" smtClean="0"/>
              <a:t>Legal Framework</a:t>
            </a:r>
            <a:endParaRPr lang="en-US" dirty="0"/>
          </a:p>
        </p:txBody>
      </p:sp>
      <p:sp>
        <p:nvSpPr>
          <p:cNvPr id="18" name="TextBox 17"/>
          <p:cNvSpPr txBox="1"/>
          <p:nvPr/>
        </p:nvSpPr>
        <p:spPr>
          <a:xfrm>
            <a:off x="5715000" y="2777490"/>
            <a:ext cx="2236510" cy="646331"/>
          </a:xfrm>
          <a:prstGeom prst="rect">
            <a:avLst/>
          </a:prstGeom>
          <a:noFill/>
        </p:spPr>
        <p:txBody>
          <a:bodyPr wrap="none" rtlCol="0">
            <a:spAutoFit/>
          </a:bodyPr>
          <a:lstStyle/>
          <a:p>
            <a:r>
              <a:rPr lang="en-US" dirty="0" smtClean="0"/>
              <a:t>A Well Established</a:t>
            </a:r>
          </a:p>
          <a:p>
            <a:r>
              <a:rPr lang="en-US" dirty="0" smtClean="0"/>
              <a:t>Process Framework</a:t>
            </a:r>
            <a:endParaRPr lang="en-US" dirty="0"/>
          </a:p>
        </p:txBody>
      </p:sp>
      <p:graphicFrame>
        <p:nvGraphicFramePr>
          <p:cNvPr id="16" name="Diagram 15"/>
          <p:cNvGraphicFramePr/>
          <p:nvPr/>
        </p:nvGraphicFramePr>
        <p:xfrm>
          <a:off x="3671595" y="3724910"/>
          <a:ext cx="1891005" cy="99949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3046777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he link that binds: </a:t>
            </a:r>
            <a:br>
              <a:rPr lang="en-US" dirty="0" smtClean="0"/>
            </a:br>
            <a:r>
              <a:rPr lang="en-US" dirty="0" smtClean="0"/>
              <a:t>The Public procurement professional</a:t>
            </a:r>
            <a:endParaRPr lang="en-US" dirty="0"/>
          </a:p>
        </p:txBody>
      </p:sp>
      <p:pic>
        <p:nvPicPr>
          <p:cNvPr id="10" name="Content Placeholder 9"/>
          <p:cNvPicPr>
            <a:picLocks noGrp="1" noChangeAspect="1"/>
          </p:cNvPicPr>
          <p:nvPr>
            <p:ph idx="1"/>
          </p:nvPr>
        </p:nvPicPr>
        <p:blipFill>
          <a:blip r:embed="rId2"/>
          <a:stretch>
            <a:fillRect/>
          </a:stretch>
        </p:blipFill>
        <p:spPr>
          <a:xfrm>
            <a:off x="3105150" y="4689880"/>
            <a:ext cx="3295650" cy="2091920"/>
          </a:xfrm>
          <a:prstGeom prst="rect">
            <a:avLst/>
          </a:prstGeom>
        </p:spPr>
      </p:pic>
      <p:pic>
        <p:nvPicPr>
          <p:cNvPr id="4" name="Picture 3"/>
          <p:cNvPicPr>
            <a:picLocks noChangeAspect="1"/>
          </p:cNvPicPr>
          <p:nvPr/>
        </p:nvPicPr>
        <p:blipFill>
          <a:blip r:embed="rId3"/>
          <a:stretch>
            <a:fillRect/>
          </a:stretch>
        </p:blipFill>
        <p:spPr>
          <a:xfrm>
            <a:off x="5591176" y="2630269"/>
            <a:ext cx="2466975" cy="1847850"/>
          </a:xfrm>
          <a:prstGeom prst="rect">
            <a:avLst/>
          </a:prstGeom>
        </p:spPr>
      </p:pic>
      <p:pic>
        <p:nvPicPr>
          <p:cNvPr id="5" name="Picture 4"/>
          <p:cNvPicPr>
            <a:picLocks noChangeAspect="1"/>
          </p:cNvPicPr>
          <p:nvPr/>
        </p:nvPicPr>
        <p:blipFill>
          <a:blip r:embed="rId4"/>
          <a:stretch>
            <a:fillRect/>
          </a:stretch>
        </p:blipFill>
        <p:spPr>
          <a:xfrm>
            <a:off x="990600" y="2782669"/>
            <a:ext cx="2819400" cy="1619250"/>
          </a:xfrm>
          <a:prstGeom prst="rect">
            <a:avLst/>
          </a:prstGeom>
        </p:spPr>
      </p:pic>
      <p:sp>
        <p:nvSpPr>
          <p:cNvPr id="6" name="TextBox 5"/>
          <p:cNvSpPr txBox="1"/>
          <p:nvPr/>
        </p:nvSpPr>
        <p:spPr>
          <a:xfrm>
            <a:off x="1447800" y="2096869"/>
            <a:ext cx="2091342" cy="646331"/>
          </a:xfrm>
          <a:prstGeom prst="rect">
            <a:avLst/>
          </a:prstGeom>
          <a:noFill/>
        </p:spPr>
        <p:txBody>
          <a:bodyPr wrap="none" rtlCol="0">
            <a:spAutoFit/>
          </a:bodyPr>
          <a:lstStyle/>
          <a:p>
            <a:r>
              <a:rPr lang="en-US" dirty="0"/>
              <a:t>A Well Established</a:t>
            </a:r>
          </a:p>
          <a:p>
            <a:r>
              <a:rPr lang="en-US" dirty="0"/>
              <a:t>Legal Framework</a:t>
            </a:r>
          </a:p>
        </p:txBody>
      </p:sp>
      <p:sp>
        <p:nvSpPr>
          <p:cNvPr id="7" name="TextBox 6"/>
          <p:cNvSpPr txBox="1"/>
          <p:nvPr/>
        </p:nvSpPr>
        <p:spPr>
          <a:xfrm>
            <a:off x="5715000" y="2131159"/>
            <a:ext cx="2236510" cy="646331"/>
          </a:xfrm>
          <a:prstGeom prst="rect">
            <a:avLst/>
          </a:prstGeom>
          <a:noFill/>
        </p:spPr>
        <p:txBody>
          <a:bodyPr wrap="none" rtlCol="0">
            <a:spAutoFit/>
          </a:bodyPr>
          <a:lstStyle/>
          <a:p>
            <a:r>
              <a:rPr lang="en-US" dirty="0" smtClean="0"/>
              <a:t>A Well Established</a:t>
            </a:r>
          </a:p>
          <a:p>
            <a:r>
              <a:rPr lang="en-US" dirty="0" smtClean="0"/>
              <a:t>Process Framework</a:t>
            </a:r>
            <a:endParaRPr lang="en-US" dirty="0"/>
          </a:p>
        </p:txBody>
      </p:sp>
      <p:graphicFrame>
        <p:nvGraphicFramePr>
          <p:cNvPr id="8" name="Diagram 7"/>
          <p:cNvGraphicFramePr/>
          <p:nvPr>
            <p:extLst>
              <p:ext uri="{D42A27DB-BD31-4B8C-83A1-F6EECF244321}">
                <p14:modId xmlns:p14="http://schemas.microsoft.com/office/powerpoint/2010/main" val="620922058"/>
              </p:ext>
            </p:extLst>
          </p:nvPr>
        </p:nvGraphicFramePr>
        <p:xfrm>
          <a:off x="3671595" y="3078579"/>
          <a:ext cx="1891005" cy="99949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1" name="Up Arrow 10"/>
          <p:cNvSpPr/>
          <p:nvPr/>
        </p:nvSpPr>
        <p:spPr>
          <a:xfrm>
            <a:off x="4221481" y="4001869"/>
            <a:ext cx="731519" cy="762000"/>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6278940" y="5449669"/>
            <a:ext cx="2210926" cy="646331"/>
          </a:xfrm>
          <a:prstGeom prst="rect">
            <a:avLst/>
          </a:prstGeom>
          <a:noFill/>
        </p:spPr>
        <p:txBody>
          <a:bodyPr wrap="none" rtlCol="0">
            <a:spAutoFit/>
          </a:bodyPr>
          <a:lstStyle/>
          <a:p>
            <a:r>
              <a:rPr lang="en-US" dirty="0" smtClean="0"/>
              <a:t>Human Capital/</a:t>
            </a:r>
          </a:p>
          <a:p>
            <a:r>
              <a:rPr lang="en-US" dirty="0" smtClean="0"/>
              <a:t>Talent Management</a:t>
            </a:r>
            <a:endParaRPr lang="en-US" dirty="0"/>
          </a:p>
        </p:txBody>
      </p:sp>
    </p:spTree>
    <p:extLst>
      <p:ext uri="{BB962C8B-B14F-4D97-AF65-F5344CB8AC3E}">
        <p14:creationId xmlns:p14="http://schemas.microsoft.com/office/powerpoint/2010/main" val="352272351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human capital/talent management?</a:t>
            </a:r>
            <a:endParaRPr lang="en-US" dirty="0"/>
          </a:p>
        </p:txBody>
      </p:sp>
      <p:sp>
        <p:nvSpPr>
          <p:cNvPr id="3" name="Content Placeholder 2"/>
          <p:cNvSpPr>
            <a:spLocks noGrp="1"/>
          </p:cNvSpPr>
          <p:nvPr>
            <p:ph idx="1"/>
          </p:nvPr>
        </p:nvSpPr>
        <p:spPr/>
        <p:txBody>
          <a:bodyPr>
            <a:noAutofit/>
          </a:bodyPr>
          <a:lstStyle/>
          <a:p>
            <a:pPr>
              <a:spcAft>
                <a:spcPts val="0"/>
              </a:spcAft>
              <a:defRPr/>
            </a:pPr>
            <a:r>
              <a:rPr lang="en-US" sz="2400" dirty="0"/>
              <a:t>Traditional Employment Focus</a:t>
            </a:r>
          </a:p>
          <a:p>
            <a:pPr lvl="1">
              <a:spcAft>
                <a:spcPts val="0"/>
              </a:spcAft>
              <a:defRPr/>
            </a:pPr>
            <a:r>
              <a:rPr lang="en-US" sz="2400" dirty="0"/>
              <a:t>Skills &amp; education</a:t>
            </a:r>
          </a:p>
          <a:p>
            <a:pPr lvl="1">
              <a:spcAft>
                <a:spcPts val="0"/>
              </a:spcAft>
              <a:defRPr/>
            </a:pPr>
            <a:r>
              <a:rPr lang="en-US" sz="2400" dirty="0"/>
              <a:t>Duties &amp; responsibilities</a:t>
            </a:r>
          </a:p>
          <a:p>
            <a:pPr lvl="1">
              <a:spcAft>
                <a:spcPts val="0"/>
              </a:spcAft>
              <a:defRPr/>
            </a:pPr>
            <a:r>
              <a:rPr lang="en-US" sz="2400" dirty="0"/>
              <a:t>Some characteristics (strength, repetitive, endurance, etc.)</a:t>
            </a:r>
          </a:p>
          <a:p>
            <a:pPr lvl="1">
              <a:spcAft>
                <a:spcPts val="0"/>
              </a:spcAft>
              <a:defRPr/>
            </a:pPr>
            <a:r>
              <a:rPr lang="en-US" sz="2400" dirty="0"/>
              <a:t>Experience</a:t>
            </a:r>
          </a:p>
          <a:p>
            <a:pPr lvl="1">
              <a:spcAft>
                <a:spcPts val="0"/>
              </a:spcAft>
              <a:buNone/>
              <a:defRPr/>
            </a:pPr>
            <a:endParaRPr lang="en-US" sz="2400" dirty="0"/>
          </a:p>
          <a:p>
            <a:pPr>
              <a:spcAft>
                <a:spcPts val="0"/>
              </a:spcAft>
              <a:defRPr/>
            </a:pPr>
            <a:r>
              <a:rPr lang="en-US" sz="2400" dirty="0"/>
              <a:t>Talent Management Focus – Traditional plus more scrutiny on …</a:t>
            </a:r>
          </a:p>
          <a:p>
            <a:pPr lvl="1">
              <a:spcAft>
                <a:spcPts val="0"/>
              </a:spcAft>
              <a:defRPr/>
            </a:pPr>
            <a:r>
              <a:rPr lang="en-US" sz="2400" dirty="0"/>
              <a:t>Traits</a:t>
            </a:r>
          </a:p>
          <a:p>
            <a:pPr lvl="1">
              <a:spcAft>
                <a:spcPts val="0"/>
              </a:spcAft>
              <a:defRPr/>
            </a:pPr>
            <a:r>
              <a:rPr lang="en-US" sz="2400" dirty="0"/>
              <a:t>Behavior</a:t>
            </a:r>
          </a:p>
          <a:p>
            <a:pPr lvl="1">
              <a:spcAft>
                <a:spcPts val="0"/>
              </a:spcAft>
              <a:defRPr/>
            </a:pPr>
            <a:r>
              <a:rPr lang="en-US" sz="2400" dirty="0"/>
              <a:t>Talent …</a:t>
            </a:r>
          </a:p>
          <a:p>
            <a:pPr>
              <a:spcAft>
                <a:spcPts val="0"/>
              </a:spcAft>
              <a:defRPr/>
            </a:pPr>
            <a:endParaRPr lang="en-US" sz="2400" dirty="0"/>
          </a:p>
          <a:p>
            <a:endParaRPr lang="en-US" sz="2400" dirty="0"/>
          </a:p>
        </p:txBody>
      </p:sp>
      <p:pic>
        <p:nvPicPr>
          <p:cNvPr id="4" name="Picture 2" descr="http://www.extension.ucsb.edu/img/unex/cert/ProjMg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6551" y="5257800"/>
            <a:ext cx="1881649" cy="1252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370868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eedSK.TiEyT2DetTYBRA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ntegral">
  <a:themeElements>
    <a:clrScheme name="Integral">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xmlns="" name="Integral" id="{3577F8C9-A904-41D8-97D2-FD898F53F20E}" vid="{682D6EBE-8D36-4FF2-9DB3-F3D8D7B671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ntegral</Template>
  <TotalTime>26586</TotalTime>
  <Words>1777</Words>
  <Application>Microsoft Office PowerPoint</Application>
  <PresentationFormat>On-screen Show (4:3)</PresentationFormat>
  <Paragraphs>228</Paragraphs>
  <Slides>24</Slides>
  <Notes>3</Notes>
  <HiddenSlides>0</HiddenSlides>
  <MMClips>0</MMClips>
  <ScaleCrop>false</ScaleCrop>
  <HeadingPairs>
    <vt:vector size="4" baseType="variant">
      <vt:variant>
        <vt:lpstr>Theme</vt:lpstr>
      </vt:variant>
      <vt:variant>
        <vt:i4>1</vt:i4>
      </vt:variant>
      <vt:variant>
        <vt:lpstr>Slide Titles</vt:lpstr>
      </vt:variant>
      <vt:variant>
        <vt:i4>24</vt:i4>
      </vt:variant>
    </vt:vector>
  </HeadingPairs>
  <TitlesOfParts>
    <vt:vector size="25" baseType="lpstr">
      <vt:lpstr>Integral</vt:lpstr>
      <vt:lpstr>Procurement’s Most Strategic Asset:  It’s Professionals </vt:lpstr>
      <vt:lpstr>Necessity and technology are driving change in public procurement</vt:lpstr>
      <vt:lpstr>Let us look at this Conference’s themes</vt:lpstr>
      <vt:lpstr>Challenges of the “new” procurement</vt:lpstr>
      <vt:lpstr>These Changes impact how we do our business</vt:lpstr>
      <vt:lpstr>So how does Procurement achieve all these goals? </vt:lpstr>
      <vt:lpstr>The Critical Link in achieving Public Procurement excellence</vt:lpstr>
      <vt:lpstr>The link that binds:  The Public procurement professional</vt:lpstr>
      <vt:lpstr>What is human capital/talent management?</vt:lpstr>
      <vt:lpstr>To achieve excellence we need professionals who are familiar with:</vt:lpstr>
      <vt:lpstr>To achieve excellence we need professionals who are familiar with:</vt:lpstr>
      <vt:lpstr>So how do we get the talent needed to move to procurement excellence?</vt:lpstr>
      <vt:lpstr>Recruiting the right talent</vt:lpstr>
      <vt:lpstr>Retaining the right talent</vt:lpstr>
      <vt:lpstr>Developing succession plans to capture talent</vt:lpstr>
      <vt:lpstr>So where does this leave us?</vt:lpstr>
      <vt:lpstr>Why worry about being a profession?</vt:lpstr>
      <vt:lpstr>What are the contours of a profession?</vt:lpstr>
      <vt:lpstr>Where ARE WE NOW?</vt:lpstr>
      <vt:lpstr>Is procurement sufficiently esoteric to justify a profession?</vt:lpstr>
      <vt:lpstr>What is a job analysis?</vt:lpstr>
      <vt:lpstr>A final statement</vt:lpstr>
      <vt:lpstr>In conclusion: procurement needs to be more strategic and drive performance</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Dr. Eric Prier</dc:creator>
  <cp:lastModifiedBy>%username%</cp:lastModifiedBy>
  <cp:revision>93</cp:revision>
  <dcterms:created xsi:type="dcterms:W3CDTF">2010-08-06T16:11:21Z</dcterms:created>
  <dcterms:modified xsi:type="dcterms:W3CDTF">2017-03-02T17:18:09Z</dcterms:modified>
</cp:coreProperties>
</file>